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49"/>
  </p:notesMasterIdLst>
  <p:sldIdLst>
    <p:sldId id="2146845380" r:id="rId5"/>
    <p:sldId id="2146845452" r:id="rId6"/>
    <p:sldId id="2146845442" r:id="rId7"/>
    <p:sldId id="2146845449" r:id="rId8"/>
    <p:sldId id="2146845451" r:id="rId9"/>
    <p:sldId id="2146845453" r:id="rId10"/>
    <p:sldId id="2146845483" r:id="rId11"/>
    <p:sldId id="2146845411" r:id="rId12"/>
    <p:sldId id="2146845472" r:id="rId13"/>
    <p:sldId id="2146845473" r:id="rId14"/>
    <p:sldId id="2146845455" r:id="rId15"/>
    <p:sldId id="2146845356" r:id="rId16"/>
    <p:sldId id="2146845460" r:id="rId17"/>
    <p:sldId id="2146845461" r:id="rId18"/>
    <p:sldId id="2146845489" r:id="rId19"/>
    <p:sldId id="2146845458" r:id="rId20"/>
    <p:sldId id="2146845446" r:id="rId21"/>
    <p:sldId id="2146845445" r:id="rId22"/>
    <p:sldId id="2146845372" r:id="rId23"/>
    <p:sldId id="2146845484" r:id="rId24"/>
    <p:sldId id="2146845413" r:id="rId25"/>
    <p:sldId id="2146845420" r:id="rId26"/>
    <p:sldId id="2146845447" r:id="rId27"/>
    <p:sldId id="2146845391" r:id="rId28"/>
    <p:sldId id="2146845477" r:id="rId29"/>
    <p:sldId id="2146845402" r:id="rId30"/>
    <p:sldId id="2146845408" r:id="rId31"/>
    <p:sldId id="2146845480" r:id="rId32"/>
    <p:sldId id="2146845405" r:id="rId33"/>
    <p:sldId id="2146845481" r:id="rId34"/>
    <p:sldId id="2146845482" r:id="rId35"/>
    <p:sldId id="2146845409" r:id="rId36"/>
    <p:sldId id="2146845486" r:id="rId37"/>
    <p:sldId id="2146845444" r:id="rId38"/>
    <p:sldId id="2146845437" r:id="rId39"/>
    <p:sldId id="2146845487" r:id="rId40"/>
    <p:sldId id="2146845488" r:id="rId41"/>
    <p:sldId id="2146845427" r:id="rId42"/>
    <p:sldId id="2146845485" r:id="rId43"/>
    <p:sldId id="2146845416" r:id="rId44"/>
    <p:sldId id="2146845421" r:id="rId45"/>
    <p:sldId id="2146845415" r:id="rId46"/>
    <p:sldId id="2146845422" r:id="rId47"/>
    <p:sldId id="2146845475" r:id="rId4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Richwood" initials="AR" lastIdx="5" clrIdx="0">
    <p:extLst>
      <p:ext uri="{19B8F6BF-5375-455C-9EA6-DF929625EA0E}">
        <p15:presenceInfo xmlns:p15="http://schemas.microsoft.com/office/powerpoint/2012/main" userId="S::alexander.richwood@veeva.com::6a746949-975a-4404-914f-fa4a61014c27" providerId="AD"/>
      </p:ext>
    </p:extLst>
  </p:cmAuthor>
  <p:cmAuthor id="2" name="Alexandre Raynaud" initials="AR" lastIdx="1" clrIdx="1">
    <p:extLst>
      <p:ext uri="{19B8F6BF-5375-455C-9EA6-DF929625EA0E}">
        <p15:presenceInfo xmlns:p15="http://schemas.microsoft.com/office/powerpoint/2012/main" userId="S::alexandre.raynaud@veeva.com::62013f2f-fa8b-4728-ba61-7c17181a1d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616311-6EC6-446B-B3DE-15ABD103BC7E}" v="808" dt="2021-05-05T12:53:52.420"/>
    <p1510:client id="{E8899BDD-0971-4B1F-3FE1-E13CE4856F6E}" v="12" dt="2021-05-05T07:21:59.227"/>
    <p1510:client id="{FA1643D3-A720-49F2-BB83-1AFCB212AB8F}" v="1990" dt="2021-05-05T12:50:07.7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55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BB616311-6EC6-446B-B3DE-15ABD103BC7E}"/>
    <pc:docChg chg="undo custSel addSld delSld modSld sldOrd delMainMaster">
      <pc:chgData name="Alexander Richwood" userId="6a746949-975a-4404-914f-fa4a61014c27" providerId="ADAL" clId="{BB616311-6EC6-446B-B3DE-15ABD103BC7E}" dt="2021-05-05T12:53:52.420" v="1790" actId="20577"/>
      <pc:docMkLst>
        <pc:docMk/>
      </pc:docMkLst>
      <pc:sldChg chg="del">
        <pc:chgData name="Alexander Richwood" userId="6a746949-975a-4404-914f-fa4a61014c27" providerId="ADAL" clId="{BB616311-6EC6-446B-B3DE-15ABD103BC7E}" dt="2021-05-04T11:57:44.412" v="3" actId="47"/>
        <pc:sldMkLst>
          <pc:docMk/>
          <pc:sldMk cId="109857222" sldId="256"/>
        </pc:sldMkLst>
      </pc:sldChg>
      <pc:sldChg chg="add">
        <pc:chgData name="Alexander Richwood" userId="6a746949-975a-4404-914f-fa4a61014c27" providerId="ADAL" clId="{BB616311-6EC6-446B-B3DE-15ABD103BC7E}" dt="2021-05-04T12:07:52.784" v="222"/>
        <pc:sldMkLst>
          <pc:docMk/>
          <pc:sldMk cId="1320485726" sldId="2146845356"/>
        </pc:sldMkLst>
      </pc:sldChg>
      <pc:sldChg chg="addSp modSp add mod ord modShow">
        <pc:chgData name="Alexander Richwood" userId="6a746949-975a-4404-914f-fa4a61014c27" providerId="ADAL" clId="{BB616311-6EC6-446B-B3DE-15ABD103BC7E}" dt="2021-05-05T11:03:34.534" v="1408" actId="729"/>
        <pc:sldMkLst>
          <pc:docMk/>
          <pc:sldMk cId="41267932" sldId="2146845372"/>
        </pc:sldMkLst>
        <pc:spChg chg="add mod">
          <ac:chgData name="Alexander Richwood" userId="6a746949-975a-4404-914f-fa4a61014c27" providerId="ADAL" clId="{BB616311-6EC6-446B-B3DE-15ABD103BC7E}" dt="2021-05-05T11:02:59.908" v="1403" actId="122"/>
          <ac:spMkLst>
            <pc:docMk/>
            <pc:sldMk cId="41267932" sldId="2146845372"/>
            <ac:spMk id="3" creationId="{BE3F6586-B0D5-4F39-A929-8E9F2DB0EF9B}"/>
          </ac:spMkLst>
        </pc:spChg>
        <pc:spChg chg="mod">
          <ac:chgData name="Alexander Richwood" userId="6a746949-975a-4404-914f-fa4a61014c27" providerId="ADAL" clId="{BB616311-6EC6-446B-B3DE-15ABD103BC7E}" dt="2021-05-05T10:59:58.577" v="1330" actId="255"/>
          <ac:spMkLst>
            <pc:docMk/>
            <pc:sldMk cId="41267932" sldId="2146845372"/>
            <ac:spMk id="6" creationId="{99B84020-79A9-4C48-9FEC-E870B6547AF7}"/>
          </ac:spMkLst>
        </pc:spChg>
        <pc:spChg chg="mod">
          <ac:chgData name="Alexander Richwood" userId="6a746949-975a-4404-914f-fa4a61014c27" providerId="ADAL" clId="{BB616311-6EC6-446B-B3DE-15ABD103BC7E}" dt="2021-05-05T10:59:31.792" v="1285" actId="1076"/>
          <ac:spMkLst>
            <pc:docMk/>
            <pc:sldMk cId="41267932" sldId="2146845372"/>
            <ac:spMk id="8" creationId="{DE19276A-5116-48B9-B564-2D2F433C9678}"/>
          </ac:spMkLst>
        </pc:spChg>
      </pc:sldChg>
      <pc:sldChg chg="modSp add del mod">
        <pc:chgData name="Alexander Richwood" userId="6a746949-975a-4404-914f-fa4a61014c27" providerId="ADAL" clId="{BB616311-6EC6-446B-B3DE-15ABD103BC7E}" dt="2021-05-04T11:58:52.334" v="6" actId="20577"/>
        <pc:sldMkLst>
          <pc:docMk/>
          <pc:sldMk cId="636563377" sldId="2146845380"/>
        </pc:sldMkLst>
        <pc:spChg chg="mod">
          <ac:chgData name="Alexander Richwood" userId="6a746949-975a-4404-914f-fa4a61014c27" providerId="ADAL" clId="{BB616311-6EC6-446B-B3DE-15ABD103BC7E}" dt="2021-05-04T11:58:52.334" v="6" actId="20577"/>
          <ac:spMkLst>
            <pc:docMk/>
            <pc:sldMk cId="636563377" sldId="2146845380"/>
            <ac:spMk id="13" creationId="{2469A092-A161-4D41-88A5-0ACDFCE29DF5}"/>
          </ac:spMkLst>
        </pc:spChg>
      </pc:sldChg>
      <pc:sldChg chg="add">
        <pc:chgData name="Alexander Richwood" userId="6a746949-975a-4404-914f-fa4a61014c27" providerId="ADAL" clId="{BB616311-6EC6-446B-B3DE-15ABD103BC7E}" dt="2021-05-04T12:04:43.389" v="104"/>
        <pc:sldMkLst>
          <pc:docMk/>
          <pc:sldMk cId="1008592238" sldId="2146845411"/>
        </pc:sldMkLst>
      </pc:sldChg>
      <pc:sldChg chg="add">
        <pc:chgData name="Alexander Richwood" userId="6a746949-975a-4404-914f-fa4a61014c27" providerId="ADAL" clId="{BB616311-6EC6-446B-B3DE-15ABD103BC7E}" dt="2021-05-04T12:29:19.308" v="367"/>
        <pc:sldMkLst>
          <pc:docMk/>
          <pc:sldMk cId="3086085695" sldId="2146845413"/>
        </pc:sldMkLst>
      </pc:sldChg>
      <pc:sldChg chg="add">
        <pc:chgData name="Alexander Richwood" userId="6a746949-975a-4404-914f-fa4a61014c27" providerId="ADAL" clId="{BB616311-6EC6-446B-B3DE-15ABD103BC7E}" dt="2021-05-04T12:28:27.505" v="366"/>
        <pc:sldMkLst>
          <pc:docMk/>
          <pc:sldMk cId="104220654" sldId="2146845415"/>
        </pc:sldMkLst>
      </pc:sldChg>
      <pc:sldChg chg="add">
        <pc:chgData name="Alexander Richwood" userId="6a746949-975a-4404-914f-fa4a61014c27" providerId="ADAL" clId="{BB616311-6EC6-446B-B3DE-15ABD103BC7E}" dt="2021-05-04T12:28:27.505" v="366"/>
        <pc:sldMkLst>
          <pc:docMk/>
          <pc:sldMk cId="1828021545" sldId="2146845416"/>
        </pc:sldMkLst>
      </pc:sldChg>
      <pc:sldChg chg="add">
        <pc:chgData name="Alexander Richwood" userId="6a746949-975a-4404-914f-fa4a61014c27" providerId="ADAL" clId="{BB616311-6EC6-446B-B3DE-15ABD103BC7E}" dt="2021-05-04T12:29:19.308" v="367"/>
        <pc:sldMkLst>
          <pc:docMk/>
          <pc:sldMk cId="2293514158" sldId="2146845420"/>
        </pc:sldMkLst>
      </pc:sldChg>
      <pc:sldChg chg="add">
        <pc:chgData name="Alexander Richwood" userId="6a746949-975a-4404-914f-fa4a61014c27" providerId="ADAL" clId="{BB616311-6EC6-446B-B3DE-15ABD103BC7E}" dt="2021-05-04T12:28:27.505" v="366"/>
        <pc:sldMkLst>
          <pc:docMk/>
          <pc:sldMk cId="3486872388" sldId="2146845421"/>
        </pc:sldMkLst>
      </pc:sldChg>
      <pc:sldChg chg="add">
        <pc:chgData name="Alexander Richwood" userId="6a746949-975a-4404-914f-fa4a61014c27" providerId="ADAL" clId="{BB616311-6EC6-446B-B3DE-15ABD103BC7E}" dt="2021-05-04T12:28:27.505" v="366"/>
        <pc:sldMkLst>
          <pc:docMk/>
          <pc:sldMk cId="1984552432" sldId="2146845422"/>
        </pc:sldMkLst>
      </pc:sldChg>
      <pc:sldChg chg="modSp add mod">
        <pc:chgData name="Alexander Richwood" userId="6a746949-975a-4404-914f-fa4a61014c27" providerId="ADAL" clId="{BB616311-6EC6-446B-B3DE-15ABD103BC7E}" dt="2021-05-04T12:59:57.410" v="981" actId="20577"/>
        <pc:sldMkLst>
          <pc:docMk/>
          <pc:sldMk cId="3631056710" sldId="2146845427"/>
        </pc:sldMkLst>
        <pc:spChg chg="mod">
          <ac:chgData name="Alexander Richwood" userId="6a746949-975a-4404-914f-fa4a61014c27" providerId="ADAL" clId="{BB616311-6EC6-446B-B3DE-15ABD103BC7E}" dt="2021-05-04T12:56:59.501" v="680" actId="20577"/>
          <ac:spMkLst>
            <pc:docMk/>
            <pc:sldMk cId="3631056710" sldId="2146845427"/>
            <ac:spMk id="2" creationId="{B667860F-D7C9-5A4B-B5CF-EACFC3CCB4A1}"/>
          </ac:spMkLst>
        </pc:spChg>
        <pc:graphicFrameChg chg="modGraphic">
          <ac:chgData name="Alexander Richwood" userId="6a746949-975a-4404-914f-fa4a61014c27" providerId="ADAL" clId="{BB616311-6EC6-446B-B3DE-15ABD103BC7E}" dt="2021-05-04T12:59:57.410" v="981" actId="20577"/>
          <ac:graphicFrameMkLst>
            <pc:docMk/>
            <pc:sldMk cId="3631056710" sldId="2146845427"/>
            <ac:graphicFrameMk id="4" creationId="{424B61DC-8D57-E341-AADF-DA29275A4EED}"/>
          </ac:graphicFrameMkLst>
        </pc:graphicFrameChg>
      </pc:sldChg>
      <pc:sldChg chg="add del">
        <pc:chgData name="Alexander Richwood" userId="6a746949-975a-4404-914f-fa4a61014c27" providerId="ADAL" clId="{BB616311-6EC6-446B-B3DE-15ABD103BC7E}" dt="2021-05-04T12:33:41.545" v="482" actId="2696"/>
        <pc:sldMkLst>
          <pc:docMk/>
          <pc:sldMk cId="1550332164" sldId="2146845437"/>
        </pc:sldMkLst>
      </pc:sldChg>
      <pc:sldChg chg="modSp add mod addCm delCm modCm modNotesTx">
        <pc:chgData name="Alexander Richwood" userId="6a746949-975a-4404-914f-fa4a61014c27" providerId="ADAL" clId="{BB616311-6EC6-446B-B3DE-15ABD103BC7E}" dt="2021-05-05T12:03:07.624" v="1430" actId="20577"/>
        <pc:sldMkLst>
          <pc:docMk/>
          <pc:sldMk cId="2988350435" sldId="2146845437"/>
        </pc:sldMkLst>
        <pc:spChg chg="mod">
          <ac:chgData name="Alexander Richwood" userId="6a746949-975a-4404-914f-fa4a61014c27" providerId="ADAL" clId="{BB616311-6EC6-446B-B3DE-15ABD103BC7E}" dt="2021-05-04T13:00:46.340" v="999" actId="20577"/>
          <ac:spMkLst>
            <pc:docMk/>
            <pc:sldMk cId="2988350435" sldId="2146845437"/>
            <ac:spMk id="3" creationId="{5DFF73D0-08B1-1F41-962D-E265D79AFE23}"/>
          </ac:spMkLst>
        </pc:spChg>
        <pc:spChg chg="mod">
          <ac:chgData name="Alexander Richwood" userId="6a746949-975a-4404-914f-fa4a61014c27" providerId="ADAL" clId="{BB616311-6EC6-446B-B3DE-15ABD103BC7E}" dt="2021-05-04T13:00:51.069" v="1005" actId="20577"/>
          <ac:spMkLst>
            <pc:docMk/>
            <pc:sldMk cId="2988350435" sldId="2146845437"/>
            <ac:spMk id="4" creationId="{08FD4428-51E8-0345-8EDA-4791D7A54666}"/>
          </ac:spMkLst>
        </pc:spChg>
        <pc:spChg chg="mod">
          <ac:chgData name="Alexander Richwood" userId="6a746949-975a-4404-914f-fa4a61014c27" providerId="ADAL" clId="{BB616311-6EC6-446B-B3DE-15ABD103BC7E}" dt="2021-05-05T12:02:52.799" v="1421" actId="404"/>
          <ac:spMkLst>
            <pc:docMk/>
            <pc:sldMk cId="2988350435" sldId="2146845437"/>
            <ac:spMk id="10" creationId="{AF9F2AF1-B524-4B5F-8DB0-29F982131ACF}"/>
          </ac:spMkLst>
        </pc:spChg>
        <pc:spChg chg="mod">
          <ac:chgData name="Alexander Richwood" userId="6a746949-975a-4404-914f-fa4a61014c27" providerId="ADAL" clId="{BB616311-6EC6-446B-B3DE-15ABD103BC7E}" dt="2021-05-04T13:00:57.116" v="1015" actId="20577"/>
          <ac:spMkLst>
            <pc:docMk/>
            <pc:sldMk cId="2988350435" sldId="2146845437"/>
            <ac:spMk id="11" creationId="{3631C464-5693-1E49-A490-224228F646D3}"/>
          </ac:spMkLst>
        </pc:spChg>
        <pc:spChg chg="mod">
          <ac:chgData name="Alexander Richwood" userId="6a746949-975a-4404-914f-fa4a61014c27" providerId="ADAL" clId="{BB616311-6EC6-446B-B3DE-15ABD103BC7E}" dt="2021-05-05T12:03:07.624" v="1430" actId="20577"/>
          <ac:spMkLst>
            <pc:docMk/>
            <pc:sldMk cId="2988350435" sldId="2146845437"/>
            <ac:spMk id="13" creationId="{1218110F-AFC4-4592-8558-BE689FA4A213}"/>
          </ac:spMkLst>
        </pc:spChg>
      </pc:sldChg>
      <pc:sldChg chg="addSp delSp modSp add mod addCm delCm modCm">
        <pc:chgData name="Alexander Richwood" userId="6a746949-975a-4404-914f-fa4a61014c27" providerId="ADAL" clId="{BB616311-6EC6-446B-B3DE-15ABD103BC7E}" dt="2021-05-05T07:49:13.348" v="1018" actId="1592"/>
        <pc:sldMkLst>
          <pc:docMk/>
          <pc:sldMk cId="4080574388" sldId="2146845442"/>
        </pc:sldMkLst>
        <pc:spChg chg="add del mod">
          <ac:chgData name="Alexander Richwood" userId="6a746949-975a-4404-914f-fa4a61014c27" providerId="ADAL" clId="{BB616311-6EC6-446B-B3DE-15ABD103BC7E}" dt="2021-05-04T12:52:21.653" v="599" actId="478"/>
          <ac:spMkLst>
            <pc:docMk/>
            <pc:sldMk cId="4080574388" sldId="2146845442"/>
            <ac:spMk id="3" creationId="{28BFDFB6-557B-47C3-AC15-27E3229AEC45}"/>
          </ac:spMkLst>
        </pc:spChg>
        <pc:spChg chg="mod">
          <ac:chgData name="Alexander Richwood" userId="6a746949-975a-4404-914f-fa4a61014c27" providerId="ADAL" clId="{BB616311-6EC6-446B-B3DE-15ABD103BC7E}" dt="2021-05-04T12:16:11.314" v="311" actId="20577"/>
          <ac:spMkLst>
            <pc:docMk/>
            <pc:sldMk cId="4080574388" sldId="2146845442"/>
            <ac:spMk id="5" creationId="{4693AC09-26C6-AE45-BF69-A54CF0CE27C6}"/>
          </ac:spMkLst>
        </pc:spChg>
        <pc:graphicFrameChg chg="modGraphic">
          <ac:chgData name="Alexander Richwood" userId="6a746949-975a-4404-914f-fa4a61014c27" providerId="ADAL" clId="{BB616311-6EC6-446B-B3DE-15ABD103BC7E}" dt="2021-05-04T12:32:39.345" v="478" actId="20577"/>
          <ac:graphicFrameMkLst>
            <pc:docMk/>
            <pc:sldMk cId="4080574388" sldId="2146845442"/>
            <ac:graphicFrameMk id="4" creationId="{5DA8D63F-9C7B-9049-A963-9B83E9891FBA}"/>
          </ac:graphicFrameMkLst>
        </pc:graphicFrameChg>
      </pc:sldChg>
      <pc:sldChg chg="add del">
        <pc:chgData name="Alexander Richwood" userId="6a746949-975a-4404-914f-fa4a61014c27" providerId="ADAL" clId="{BB616311-6EC6-446B-B3DE-15ABD103BC7E}" dt="2021-05-04T11:58:56.992" v="7" actId="47"/>
        <pc:sldMkLst>
          <pc:docMk/>
          <pc:sldMk cId="1803901660" sldId="2146845443"/>
        </pc:sldMkLst>
      </pc:sldChg>
      <pc:sldChg chg="add">
        <pc:chgData name="Alexander Richwood" userId="6a746949-975a-4404-914f-fa4a61014c27" providerId="ADAL" clId="{BB616311-6EC6-446B-B3DE-15ABD103BC7E}" dt="2021-05-04T12:33:31.514" v="481"/>
        <pc:sldMkLst>
          <pc:docMk/>
          <pc:sldMk cId="3078701061" sldId="2146845444"/>
        </pc:sldMkLst>
      </pc:sldChg>
      <pc:sldChg chg="modSp add mod">
        <pc:chgData name="Alexander Richwood" userId="6a746949-975a-4404-914f-fa4a61014c27" providerId="ADAL" clId="{BB616311-6EC6-446B-B3DE-15ABD103BC7E}" dt="2021-05-05T12:53:52.420" v="1790" actId="20577"/>
        <pc:sldMkLst>
          <pc:docMk/>
          <pc:sldMk cId="823817614" sldId="2146845445"/>
        </pc:sldMkLst>
        <pc:spChg chg="mod">
          <ac:chgData name="Alexander Richwood" userId="6a746949-975a-4404-914f-fa4a61014c27" providerId="ADAL" clId="{BB616311-6EC6-446B-B3DE-15ABD103BC7E}" dt="2021-05-05T11:03:20.405" v="1407" actId="20577"/>
          <ac:spMkLst>
            <pc:docMk/>
            <pc:sldMk cId="823817614" sldId="2146845445"/>
            <ac:spMk id="2" creationId="{ED2FC044-BEDA-42E8-913B-B30EC113F11D}"/>
          </ac:spMkLst>
        </pc:spChg>
        <pc:spChg chg="mod">
          <ac:chgData name="Alexander Richwood" userId="6a746949-975a-4404-914f-fa4a61014c27" providerId="ADAL" clId="{BB616311-6EC6-446B-B3DE-15ABD103BC7E}" dt="2021-05-05T12:53:52.420" v="1790" actId="20577"/>
          <ac:spMkLst>
            <pc:docMk/>
            <pc:sldMk cId="823817614" sldId="2146845445"/>
            <ac:spMk id="6" creationId="{99B84020-79A9-4C48-9FEC-E870B6547AF7}"/>
          </ac:spMkLst>
        </pc:spChg>
      </pc:sldChg>
      <pc:sldChg chg="modSp add mod">
        <pc:chgData name="Alexander Richwood" userId="6a746949-975a-4404-914f-fa4a61014c27" providerId="ADAL" clId="{BB616311-6EC6-446B-B3DE-15ABD103BC7E}" dt="2021-05-05T12:47:47.739" v="1717" actId="20577"/>
        <pc:sldMkLst>
          <pc:docMk/>
          <pc:sldMk cId="3549728862" sldId="2146845446"/>
        </pc:sldMkLst>
        <pc:spChg chg="mod">
          <ac:chgData name="Alexander Richwood" userId="6a746949-975a-4404-914f-fa4a61014c27" providerId="ADAL" clId="{BB616311-6EC6-446B-B3DE-15ABD103BC7E}" dt="2021-05-05T11:03:09.889" v="1405" actId="20577"/>
          <ac:spMkLst>
            <pc:docMk/>
            <pc:sldMk cId="3549728862" sldId="2146845446"/>
            <ac:spMk id="2" creationId="{ED2FC044-BEDA-42E8-913B-B30EC113F11D}"/>
          </ac:spMkLst>
        </pc:spChg>
        <pc:spChg chg="mod">
          <ac:chgData name="Alexander Richwood" userId="6a746949-975a-4404-914f-fa4a61014c27" providerId="ADAL" clId="{BB616311-6EC6-446B-B3DE-15ABD103BC7E}" dt="2021-05-05T12:47:47.739" v="1717" actId="20577"/>
          <ac:spMkLst>
            <pc:docMk/>
            <pc:sldMk cId="3549728862" sldId="2146845446"/>
            <ac:spMk id="6" creationId="{99B84020-79A9-4C48-9FEC-E870B6547AF7}"/>
          </ac:spMkLst>
        </pc:spChg>
      </pc:sldChg>
      <pc:sldChg chg="modSp add mod">
        <pc:chgData name="Alexander Richwood" userId="6a746949-975a-4404-914f-fa4a61014c27" providerId="ADAL" clId="{BB616311-6EC6-446B-B3DE-15ABD103BC7E}" dt="2021-05-04T12:30:58.293" v="442" actId="20577"/>
        <pc:sldMkLst>
          <pc:docMk/>
          <pc:sldMk cId="972638260" sldId="2146845447"/>
        </pc:sldMkLst>
        <pc:spChg chg="mod">
          <ac:chgData name="Alexander Richwood" userId="6a746949-975a-4404-914f-fa4a61014c27" providerId="ADAL" clId="{BB616311-6EC6-446B-B3DE-15ABD103BC7E}" dt="2021-05-04T12:30:58.293" v="442" actId="20577"/>
          <ac:spMkLst>
            <pc:docMk/>
            <pc:sldMk cId="972638260" sldId="2146845447"/>
            <ac:spMk id="2" creationId="{785F1519-4AA7-274E-9EA3-52A4E495566C}"/>
          </ac:spMkLst>
        </pc:spChg>
      </pc:sldChg>
      <pc:sldChg chg="add">
        <pc:chgData name="Alexander Richwood" userId="6a746949-975a-4404-914f-fa4a61014c27" providerId="ADAL" clId="{BB616311-6EC6-446B-B3DE-15ABD103BC7E}" dt="2021-05-04T12:00:18.154" v="40"/>
        <pc:sldMkLst>
          <pc:docMk/>
          <pc:sldMk cId="517944172" sldId="2146845449"/>
        </pc:sldMkLst>
      </pc:sldChg>
      <pc:sldChg chg="add">
        <pc:chgData name="Alexander Richwood" userId="6a746949-975a-4404-914f-fa4a61014c27" providerId="ADAL" clId="{BB616311-6EC6-446B-B3DE-15ABD103BC7E}" dt="2021-05-04T12:00:30.140" v="41"/>
        <pc:sldMkLst>
          <pc:docMk/>
          <pc:sldMk cId="1398903236" sldId="2146845451"/>
        </pc:sldMkLst>
      </pc:sldChg>
      <pc:sldChg chg="add">
        <pc:chgData name="Alexander Richwood" userId="6a746949-975a-4404-914f-fa4a61014c27" providerId="ADAL" clId="{BB616311-6EC6-446B-B3DE-15ABD103BC7E}" dt="2021-05-04T11:59:11.776" v="8"/>
        <pc:sldMkLst>
          <pc:docMk/>
          <pc:sldMk cId="3330615201" sldId="2146845452"/>
        </pc:sldMkLst>
      </pc:sldChg>
      <pc:sldChg chg="modSp add mod">
        <pc:chgData name="Alexander Richwood" userId="6a746949-975a-4404-914f-fa4a61014c27" providerId="ADAL" clId="{BB616311-6EC6-446B-B3DE-15ABD103BC7E}" dt="2021-05-04T12:03:43.910" v="103" actId="20577"/>
        <pc:sldMkLst>
          <pc:docMk/>
          <pc:sldMk cId="3441163770" sldId="2146845453"/>
        </pc:sldMkLst>
        <pc:spChg chg="mod">
          <ac:chgData name="Alexander Richwood" userId="6a746949-975a-4404-914f-fa4a61014c27" providerId="ADAL" clId="{BB616311-6EC6-446B-B3DE-15ABD103BC7E}" dt="2021-05-04T12:03:43.910" v="103" actId="20577"/>
          <ac:spMkLst>
            <pc:docMk/>
            <pc:sldMk cId="3441163770" sldId="2146845453"/>
            <ac:spMk id="2" creationId="{62DFFE52-DA02-4725-8FD1-E84CDE76ABF2}"/>
          </ac:spMkLst>
        </pc:spChg>
      </pc:sldChg>
      <pc:sldChg chg="modSp add mod">
        <pc:chgData name="Alexander Richwood" userId="6a746949-975a-4404-914f-fa4a61014c27" providerId="ADAL" clId="{BB616311-6EC6-446B-B3DE-15ABD103BC7E}" dt="2021-05-04T12:18:12.800" v="326" actId="115"/>
        <pc:sldMkLst>
          <pc:docMk/>
          <pc:sldMk cId="2509293474" sldId="2146845455"/>
        </pc:sldMkLst>
        <pc:spChg chg="mod">
          <ac:chgData name="Alexander Richwood" userId="6a746949-975a-4404-914f-fa4a61014c27" providerId="ADAL" clId="{BB616311-6EC6-446B-B3DE-15ABD103BC7E}" dt="2021-05-04T12:18:12.800" v="326" actId="115"/>
          <ac:spMkLst>
            <pc:docMk/>
            <pc:sldMk cId="2509293474" sldId="2146845455"/>
            <ac:spMk id="2" creationId="{62DFFE52-DA02-4725-8FD1-E84CDE76ABF2}"/>
          </ac:spMkLst>
        </pc:spChg>
      </pc:sldChg>
      <pc:sldChg chg="addSp modSp add mod addCm modCm">
        <pc:chgData name="Alexander Richwood" userId="6a746949-975a-4404-914f-fa4a61014c27" providerId="ADAL" clId="{BB616311-6EC6-446B-B3DE-15ABD103BC7E}" dt="2021-05-04T12:54:28.259" v="650"/>
        <pc:sldMkLst>
          <pc:docMk/>
          <pc:sldMk cId="1943691831" sldId="2146845458"/>
        </pc:sldMkLst>
        <pc:spChg chg="add mod">
          <ac:chgData name="Alexander Richwood" userId="6a746949-975a-4404-914f-fa4a61014c27" providerId="ADAL" clId="{BB616311-6EC6-446B-B3DE-15ABD103BC7E}" dt="2021-05-04T12:09:35.482" v="268" actId="1076"/>
          <ac:spMkLst>
            <pc:docMk/>
            <pc:sldMk cId="1943691831" sldId="2146845458"/>
            <ac:spMk id="2" creationId="{386D3392-54AD-4BC9-9866-82C32E5D4C8F}"/>
          </ac:spMkLst>
        </pc:spChg>
      </pc:sldChg>
      <pc:sldChg chg="add">
        <pc:chgData name="Alexander Richwood" userId="6a746949-975a-4404-914f-fa4a61014c27" providerId="ADAL" clId="{BB616311-6EC6-446B-B3DE-15ABD103BC7E}" dt="2021-05-04T12:07:52.784" v="222"/>
        <pc:sldMkLst>
          <pc:docMk/>
          <pc:sldMk cId="458778126" sldId="2146845460"/>
        </pc:sldMkLst>
      </pc:sldChg>
      <pc:sldChg chg="add">
        <pc:chgData name="Alexander Richwood" userId="6a746949-975a-4404-914f-fa4a61014c27" providerId="ADAL" clId="{BB616311-6EC6-446B-B3DE-15ABD103BC7E}" dt="2021-05-04T12:07:52.784" v="222"/>
        <pc:sldMkLst>
          <pc:docMk/>
          <pc:sldMk cId="3435418820" sldId="2146845461"/>
        </pc:sldMkLst>
      </pc:sldChg>
      <pc:sldChg chg="addSp modSp add del mod modShow">
        <pc:chgData name="Alexander Richwood" userId="6a746949-975a-4404-914f-fa4a61014c27" providerId="ADAL" clId="{BB616311-6EC6-446B-B3DE-15ABD103BC7E}" dt="2021-05-05T07:49:22.408" v="1019" actId="47"/>
        <pc:sldMkLst>
          <pc:docMk/>
          <pc:sldMk cId="4248051299" sldId="2146845470"/>
        </pc:sldMkLst>
        <pc:spChg chg="add mod">
          <ac:chgData name="Alexander Richwood" userId="6a746949-975a-4404-914f-fa4a61014c27" providerId="ADAL" clId="{BB616311-6EC6-446B-B3DE-15ABD103BC7E}" dt="2021-05-04T12:05:25.670" v="171" actId="20577"/>
          <ac:spMkLst>
            <pc:docMk/>
            <pc:sldMk cId="4248051299" sldId="2146845470"/>
            <ac:spMk id="2" creationId="{3451F6DA-66D1-47D0-9D9D-FD423D814993}"/>
          </ac:spMkLst>
        </pc:spChg>
      </pc:sldChg>
      <pc:sldChg chg="delSp modSp add mod delAnim addCm delCm">
        <pc:chgData name="Alexander Richwood" userId="6a746949-975a-4404-914f-fa4a61014c27" providerId="ADAL" clId="{BB616311-6EC6-446B-B3DE-15ABD103BC7E}" dt="2021-05-05T07:50:46.040" v="1030" actId="1592"/>
        <pc:sldMkLst>
          <pc:docMk/>
          <pc:sldMk cId="3901396449" sldId="2146845472"/>
        </pc:sldMkLst>
        <pc:spChg chg="del">
          <ac:chgData name="Alexander Richwood" userId="6a746949-975a-4404-914f-fa4a61014c27" providerId="ADAL" clId="{BB616311-6EC6-446B-B3DE-15ABD103BC7E}" dt="2021-05-05T07:49:43.560" v="1021" actId="478"/>
          <ac:spMkLst>
            <pc:docMk/>
            <pc:sldMk cId="3901396449" sldId="2146845472"/>
            <ac:spMk id="5" creationId="{02578295-4388-485B-B111-A2914777B810}"/>
          </ac:spMkLst>
        </pc:spChg>
        <pc:spChg chg="mod">
          <ac:chgData name="Alexander Richwood" userId="6a746949-975a-4404-914f-fa4a61014c27" providerId="ADAL" clId="{BB616311-6EC6-446B-B3DE-15ABD103BC7E}" dt="2021-05-05T07:50:20.764" v="1027" actId="113"/>
          <ac:spMkLst>
            <pc:docMk/>
            <pc:sldMk cId="3901396449" sldId="2146845472"/>
            <ac:spMk id="41" creationId="{7418DA3B-64AE-4617-A655-73F090EB9EBE}"/>
          </ac:spMkLst>
        </pc:spChg>
        <pc:picChg chg="mod">
          <ac:chgData name="Alexander Richwood" userId="6a746949-975a-4404-914f-fa4a61014c27" providerId="ADAL" clId="{BB616311-6EC6-446B-B3DE-15ABD103BC7E}" dt="2021-05-05T07:50:27.556" v="1028" actId="1076"/>
          <ac:picMkLst>
            <pc:docMk/>
            <pc:sldMk cId="3901396449" sldId="2146845472"/>
            <ac:picMk id="36" creationId="{0908C001-4E75-480F-AD02-463B958C4536}"/>
          </ac:picMkLst>
        </pc:picChg>
        <pc:picChg chg="mod">
          <ac:chgData name="Alexander Richwood" userId="6a746949-975a-4404-914f-fa4a61014c27" providerId="ADAL" clId="{BB616311-6EC6-446B-B3DE-15ABD103BC7E}" dt="2021-05-05T07:50:27.556" v="1028" actId="1076"/>
          <ac:picMkLst>
            <pc:docMk/>
            <pc:sldMk cId="3901396449" sldId="2146845472"/>
            <ac:picMk id="37" creationId="{2C0DD07D-E4AF-4A1E-9999-2D0DC27C7FC0}"/>
          </ac:picMkLst>
        </pc:picChg>
        <pc:picChg chg="mod">
          <ac:chgData name="Alexander Richwood" userId="6a746949-975a-4404-914f-fa4a61014c27" providerId="ADAL" clId="{BB616311-6EC6-446B-B3DE-15ABD103BC7E}" dt="2021-05-05T07:50:27.556" v="1028" actId="1076"/>
          <ac:picMkLst>
            <pc:docMk/>
            <pc:sldMk cId="3901396449" sldId="2146845472"/>
            <ac:picMk id="39" creationId="{8637EE36-066E-4101-A371-0085B02A7F58}"/>
          </ac:picMkLst>
        </pc:picChg>
        <pc:picChg chg="del">
          <ac:chgData name="Alexander Richwood" userId="6a746949-975a-4404-914f-fa4a61014c27" providerId="ADAL" clId="{BB616311-6EC6-446B-B3DE-15ABD103BC7E}" dt="2021-05-05T07:49:40.871" v="1020" actId="478"/>
          <ac:picMkLst>
            <pc:docMk/>
            <pc:sldMk cId="3901396449" sldId="2146845472"/>
            <ac:picMk id="44" creationId="{9EB2DFFD-5242-4ED6-8055-DC8471B5A46E}"/>
          </ac:picMkLst>
        </pc:picChg>
        <pc:picChg chg="del">
          <ac:chgData name="Alexander Richwood" userId="6a746949-975a-4404-914f-fa4a61014c27" providerId="ADAL" clId="{BB616311-6EC6-446B-B3DE-15ABD103BC7E}" dt="2021-05-05T07:49:40.871" v="1020" actId="478"/>
          <ac:picMkLst>
            <pc:docMk/>
            <pc:sldMk cId="3901396449" sldId="2146845472"/>
            <ac:picMk id="45" creationId="{5E2149AF-7274-47FC-9CF4-0A4E28ABA598}"/>
          </ac:picMkLst>
        </pc:picChg>
        <pc:picChg chg="del">
          <ac:chgData name="Alexander Richwood" userId="6a746949-975a-4404-914f-fa4a61014c27" providerId="ADAL" clId="{BB616311-6EC6-446B-B3DE-15ABD103BC7E}" dt="2021-05-05T07:49:40.871" v="1020" actId="478"/>
          <ac:picMkLst>
            <pc:docMk/>
            <pc:sldMk cId="3901396449" sldId="2146845472"/>
            <ac:picMk id="47" creationId="{830B73B6-66DC-4E3B-BE7C-A445A4693855}"/>
          </ac:picMkLst>
        </pc:picChg>
        <pc:picChg chg="del">
          <ac:chgData name="Alexander Richwood" userId="6a746949-975a-4404-914f-fa4a61014c27" providerId="ADAL" clId="{BB616311-6EC6-446B-B3DE-15ABD103BC7E}" dt="2021-05-05T07:49:40.871" v="1020" actId="478"/>
          <ac:picMkLst>
            <pc:docMk/>
            <pc:sldMk cId="3901396449" sldId="2146845472"/>
            <ac:picMk id="48" creationId="{A71DB85A-F80C-49FF-8A9C-CBE308A341D9}"/>
          </ac:picMkLst>
        </pc:picChg>
      </pc:sldChg>
      <pc:sldChg chg="addSp delSp modSp add mod">
        <pc:chgData name="Alexander Richwood" userId="6a746949-975a-4404-914f-fa4a61014c27" providerId="ADAL" clId="{BB616311-6EC6-446B-B3DE-15ABD103BC7E}" dt="2021-05-05T07:58:47.745" v="1274" actId="478"/>
        <pc:sldMkLst>
          <pc:docMk/>
          <pc:sldMk cId="2497064491" sldId="2146845473"/>
        </pc:sldMkLst>
        <pc:spChg chg="del">
          <ac:chgData name="Alexander Richwood" userId="6a746949-975a-4404-914f-fa4a61014c27" providerId="ADAL" clId="{BB616311-6EC6-446B-B3DE-15ABD103BC7E}" dt="2021-05-05T07:58:47.745" v="1274" actId="478"/>
          <ac:spMkLst>
            <pc:docMk/>
            <pc:sldMk cId="2497064491" sldId="2146845473"/>
            <ac:spMk id="3" creationId="{243C1F09-C194-42DB-8E8E-0724FA2BBFA2}"/>
          </ac:spMkLst>
        </pc:spChg>
        <pc:spChg chg="add mod">
          <ac:chgData name="Alexander Richwood" userId="6a746949-975a-4404-914f-fa4a61014c27" providerId="ADAL" clId="{BB616311-6EC6-446B-B3DE-15ABD103BC7E}" dt="2021-05-05T07:57:07.449" v="1200" actId="404"/>
          <ac:spMkLst>
            <pc:docMk/>
            <pc:sldMk cId="2497064491" sldId="2146845473"/>
            <ac:spMk id="6" creationId="{9CB9BA97-C8BB-416F-92B9-3B6ABE14B419}"/>
          </ac:spMkLst>
        </pc:spChg>
        <pc:spChg chg="mod">
          <ac:chgData name="Alexander Richwood" userId="6a746949-975a-4404-914f-fa4a61014c27" providerId="ADAL" clId="{BB616311-6EC6-446B-B3DE-15ABD103BC7E}" dt="2021-05-05T07:55:52.569" v="1182" actId="1076"/>
          <ac:spMkLst>
            <pc:docMk/>
            <pc:sldMk cId="2497064491" sldId="2146845473"/>
            <ac:spMk id="14" creationId="{72A1B3E4-4575-4C5E-BD2C-D4480C4A352C}"/>
          </ac:spMkLst>
        </pc:spChg>
        <pc:spChg chg="del">
          <ac:chgData name="Alexander Richwood" userId="6a746949-975a-4404-914f-fa4a61014c27" providerId="ADAL" clId="{BB616311-6EC6-446B-B3DE-15ABD103BC7E}" dt="2021-05-05T07:53:00.527" v="1123" actId="478"/>
          <ac:spMkLst>
            <pc:docMk/>
            <pc:sldMk cId="2497064491" sldId="2146845473"/>
            <ac:spMk id="16" creationId="{6AEDCCD9-9386-4ED5-AA02-A3203DA434D7}"/>
          </ac:spMkLst>
        </pc:spChg>
        <pc:spChg chg="mod">
          <ac:chgData name="Alexander Richwood" userId="6a746949-975a-4404-914f-fa4a61014c27" providerId="ADAL" clId="{BB616311-6EC6-446B-B3DE-15ABD103BC7E}" dt="2021-05-05T07:58:19.789" v="1273" actId="20577"/>
          <ac:spMkLst>
            <pc:docMk/>
            <pc:sldMk cId="2497064491" sldId="2146845473"/>
            <ac:spMk id="17" creationId="{7399243F-756A-401B-A0FA-4FBF8DA83233}"/>
          </ac:spMkLst>
        </pc:spChg>
        <pc:spChg chg="add mod">
          <ac:chgData name="Alexander Richwood" userId="6a746949-975a-4404-914f-fa4a61014c27" providerId="ADAL" clId="{BB616311-6EC6-446B-B3DE-15ABD103BC7E}" dt="2021-05-05T07:56:08.585" v="1186" actId="1076"/>
          <ac:spMkLst>
            <pc:docMk/>
            <pc:sldMk cId="2497064491" sldId="2146845473"/>
            <ac:spMk id="38" creationId="{B3F8A385-1642-4962-88C2-D8112DD4267E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1" creationId="{4C47DF2A-2C1F-43B2-82BD-A6EF83EC0B84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2" creationId="{693C9C4B-CB20-4E1B-9BA2-9792C47751D3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3" creationId="{33592990-F76B-4926-B9A1-2BE9A115DABE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6" creationId="{0138F82C-599D-487F-B7C2-2F6FFFB8299E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7" creationId="{30763684-CA5F-4EE7-9259-780FBA6B93C4}"/>
          </ac:spMkLst>
        </pc:spChg>
        <pc:spChg chg="mod">
          <ac:chgData name="Alexander Richwood" userId="6a746949-975a-4404-914f-fa4a61014c27" providerId="ADAL" clId="{BB616311-6EC6-446B-B3DE-15ABD103BC7E}" dt="2021-05-05T07:57:45.004" v="1252" actId="403"/>
          <ac:spMkLst>
            <pc:docMk/>
            <pc:sldMk cId="2497064491" sldId="2146845473"/>
            <ac:spMk id="68" creationId="{7DE3F776-52DC-4833-8B0D-47EE42C72D18}"/>
          </ac:spMkLst>
        </pc:spChg>
        <pc:spChg chg="del">
          <ac:chgData name="Alexander Richwood" userId="6a746949-975a-4404-914f-fa4a61014c27" providerId="ADAL" clId="{BB616311-6EC6-446B-B3DE-15ABD103BC7E}" dt="2021-05-05T07:51:29.548" v="1046" actId="478"/>
          <ac:spMkLst>
            <pc:docMk/>
            <pc:sldMk cId="2497064491" sldId="2146845473"/>
            <ac:spMk id="72" creationId="{28132204-FB2F-417E-B92C-643827CCBDB0}"/>
          </ac:spMkLst>
        </pc:spChg>
        <pc:spChg chg="del">
          <ac:chgData name="Alexander Richwood" userId="6a746949-975a-4404-914f-fa4a61014c27" providerId="ADAL" clId="{BB616311-6EC6-446B-B3DE-15ABD103BC7E}" dt="2021-05-05T07:51:29.548" v="1046" actId="478"/>
          <ac:spMkLst>
            <pc:docMk/>
            <pc:sldMk cId="2497064491" sldId="2146845473"/>
            <ac:spMk id="73" creationId="{0B38AAA8-5DEE-4E71-ADDA-5DFB7EEAB0A6}"/>
          </ac:spMkLst>
        </pc:spChg>
        <pc:spChg chg="del">
          <ac:chgData name="Alexander Richwood" userId="6a746949-975a-4404-914f-fa4a61014c27" providerId="ADAL" clId="{BB616311-6EC6-446B-B3DE-15ABD103BC7E}" dt="2021-05-05T07:51:29.548" v="1046" actId="478"/>
          <ac:spMkLst>
            <pc:docMk/>
            <pc:sldMk cId="2497064491" sldId="2146845473"/>
            <ac:spMk id="74" creationId="{F6E2C9CA-7B50-4027-9265-A56DF1595E47}"/>
          </ac:spMkLst>
        </pc:spChg>
        <pc:spChg chg="del">
          <ac:chgData name="Alexander Richwood" userId="6a746949-975a-4404-914f-fa4a61014c27" providerId="ADAL" clId="{BB616311-6EC6-446B-B3DE-15ABD103BC7E}" dt="2021-05-05T07:51:29.548" v="1046" actId="478"/>
          <ac:spMkLst>
            <pc:docMk/>
            <pc:sldMk cId="2497064491" sldId="2146845473"/>
            <ac:spMk id="75" creationId="{C2D263BF-7616-4F19-A4F5-15371135BC48}"/>
          </ac:spMkLst>
        </pc:spChg>
        <pc:spChg chg="mod">
          <ac:chgData name="Alexander Richwood" userId="6a746949-975a-4404-914f-fa4a61014c27" providerId="ADAL" clId="{BB616311-6EC6-446B-B3DE-15ABD103BC7E}" dt="2021-05-05T07:52:05.235" v="1069" actId="1076"/>
          <ac:spMkLst>
            <pc:docMk/>
            <pc:sldMk cId="2497064491" sldId="2146845473"/>
            <ac:spMk id="76" creationId="{E07EB882-410D-4136-8EE4-F7157DEC7D57}"/>
          </ac:spMkLst>
        </pc:spChg>
        <pc:spChg chg="mod">
          <ac:chgData name="Alexander Richwood" userId="6a746949-975a-4404-914f-fa4a61014c27" providerId="ADAL" clId="{BB616311-6EC6-446B-B3DE-15ABD103BC7E}" dt="2021-05-05T07:52:05.235" v="1069" actId="1076"/>
          <ac:spMkLst>
            <pc:docMk/>
            <pc:sldMk cId="2497064491" sldId="2146845473"/>
            <ac:spMk id="77" creationId="{9A5D08A5-C099-43A3-8302-F05E47C24F7A}"/>
          </ac:spMkLst>
        </pc:spChg>
        <pc:spChg chg="mod">
          <ac:chgData name="Alexander Richwood" userId="6a746949-975a-4404-914f-fa4a61014c27" providerId="ADAL" clId="{BB616311-6EC6-446B-B3DE-15ABD103BC7E}" dt="2021-05-05T07:52:05.235" v="1069" actId="1076"/>
          <ac:spMkLst>
            <pc:docMk/>
            <pc:sldMk cId="2497064491" sldId="2146845473"/>
            <ac:spMk id="78" creationId="{F0885228-9022-45AF-AA68-819D95E5C891}"/>
          </ac:spMkLst>
        </pc:spChg>
        <pc:spChg chg="mod">
          <ac:chgData name="Alexander Richwood" userId="6a746949-975a-4404-914f-fa4a61014c27" providerId="ADAL" clId="{BB616311-6EC6-446B-B3DE-15ABD103BC7E}" dt="2021-05-05T07:52:05.235" v="1069" actId="1076"/>
          <ac:spMkLst>
            <pc:docMk/>
            <pc:sldMk cId="2497064491" sldId="2146845473"/>
            <ac:spMk id="79" creationId="{3FA8051B-14DD-4895-B5F6-08B9FDF6FE2C}"/>
          </ac:spMkLst>
        </pc:spChg>
        <pc:spChg chg="mod">
          <ac:chgData name="Alexander Richwood" userId="6a746949-975a-4404-914f-fa4a61014c27" providerId="ADAL" clId="{BB616311-6EC6-446B-B3DE-15ABD103BC7E}" dt="2021-05-05T07:55:52.569" v="1182" actId="1076"/>
          <ac:spMkLst>
            <pc:docMk/>
            <pc:sldMk cId="2497064491" sldId="2146845473"/>
            <ac:spMk id="80" creationId="{63696CC7-8546-4DA3-AACC-FBF75A9B43B2}"/>
          </ac:spMkLst>
        </pc:spChg>
        <pc:spChg chg="del">
          <ac:chgData name="Alexander Richwood" userId="6a746949-975a-4404-914f-fa4a61014c27" providerId="ADAL" clId="{BB616311-6EC6-446B-B3DE-15ABD103BC7E}" dt="2021-05-05T07:51:46.450" v="1066" actId="478"/>
          <ac:spMkLst>
            <pc:docMk/>
            <pc:sldMk cId="2497064491" sldId="2146845473"/>
            <ac:spMk id="82" creationId="{D9AFEBFC-83D6-453C-BFF6-026702CD62C6}"/>
          </ac:spMkLst>
        </pc:spChg>
        <pc:spChg chg="del">
          <ac:chgData name="Alexander Richwood" userId="6a746949-975a-4404-914f-fa4a61014c27" providerId="ADAL" clId="{BB616311-6EC6-446B-B3DE-15ABD103BC7E}" dt="2021-05-05T07:51:46.450" v="1066" actId="478"/>
          <ac:spMkLst>
            <pc:docMk/>
            <pc:sldMk cId="2497064491" sldId="2146845473"/>
            <ac:spMk id="85" creationId="{77BA27E9-7135-402F-97AF-24DE601DED8E}"/>
          </ac:spMkLst>
        </pc:spChg>
        <pc:spChg chg="mod">
          <ac:chgData name="Alexander Richwood" userId="6a746949-975a-4404-914f-fa4a61014c27" providerId="ADAL" clId="{BB616311-6EC6-446B-B3DE-15ABD103BC7E}" dt="2021-05-05T07:54:21.354" v="1143" actId="404"/>
          <ac:spMkLst>
            <pc:docMk/>
            <pc:sldMk cId="2497064491" sldId="2146845473"/>
            <ac:spMk id="86" creationId="{0BAFD098-78AD-486D-8F9A-BFDCAA35B1F7}"/>
          </ac:spMkLst>
        </pc:spChg>
        <pc:spChg chg="mod">
          <ac:chgData name="Alexander Richwood" userId="6a746949-975a-4404-914f-fa4a61014c27" providerId="ADAL" clId="{BB616311-6EC6-446B-B3DE-15ABD103BC7E}" dt="2021-05-05T07:54:59.691" v="1176" actId="1076"/>
          <ac:spMkLst>
            <pc:docMk/>
            <pc:sldMk cId="2497064491" sldId="2146845473"/>
            <ac:spMk id="88" creationId="{7A92260F-7E59-4811-A5AA-B3D16C02F322}"/>
          </ac:spMkLst>
        </pc:spChg>
        <pc:spChg chg="mod">
          <ac:chgData name="Alexander Richwood" userId="6a746949-975a-4404-914f-fa4a61014c27" providerId="ADAL" clId="{BB616311-6EC6-446B-B3DE-15ABD103BC7E}" dt="2021-05-05T07:54:59.691" v="1176" actId="1076"/>
          <ac:spMkLst>
            <pc:docMk/>
            <pc:sldMk cId="2497064491" sldId="2146845473"/>
            <ac:spMk id="89" creationId="{A0CDF946-4381-4D38-A035-501A4270AE1A}"/>
          </ac:spMkLst>
        </pc:spChg>
        <pc:spChg chg="mod">
          <ac:chgData name="Alexander Richwood" userId="6a746949-975a-4404-914f-fa4a61014c27" providerId="ADAL" clId="{BB616311-6EC6-446B-B3DE-15ABD103BC7E}" dt="2021-05-05T07:54:59.691" v="1176" actId="1076"/>
          <ac:spMkLst>
            <pc:docMk/>
            <pc:sldMk cId="2497064491" sldId="2146845473"/>
            <ac:spMk id="90" creationId="{3CA211E2-3AF9-44AB-B220-3900C0F4D42E}"/>
          </ac:spMkLst>
        </pc:spChg>
        <pc:picChg chg="mod">
          <ac:chgData name="Alexander Richwood" userId="6a746949-975a-4404-914f-fa4a61014c27" providerId="ADAL" clId="{BB616311-6EC6-446B-B3DE-15ABD103BC7E}" dt="2021-05-05T07:52:18.230" v="1072" actId="1076"/>
          <ac:picMkLst>
            <pc:docMk/>
            <pc:sldMk cId="2497064491" sldId="2146845473"/>
            <ac:picMk id="71" creationId="{D7C30638-0883-4CEF-9B55-271240B087B6}"/>
          </ac:picMkLst>
        </pc:picChg>
        <pc:cxnChg chg="add mod ord">
          <ac:chgData name="Alexander Richwood" userId="6a746949-975a-4404-914f-fa4a61014c27" providerId="ADAL" clId="{BB616311-6EC6-446B-B3DE-15ABD103BC7E}" dt="2021-05-05T07:56:20.631" v="1187" actId="693"/>
          <ac:cxnSpMkLst>
            <pc:docMk/>
            <pc:sldMk cId="2497064491" sldId="2146845473"/>
            <ac:cxnSpMk id="5" creationId="{E4AE20B3-C9DF-464A-811A-8E3F8E4A770A}"/>
          </ac:cxnSpMkLst>
        </pc:cxnChg>
        <pc:cxnChg chg="del">
          <ac:chgData name="Alexander Richwood" userId="6a746949-975a-4404-914f-fa4a61014c27" providerId="ADAL" clId="{BB616311-6EC6-446B-B3DE-15ABD103BC7E}" dt="2021-05-05T07:52:59.354" v="1122" actId="478"/>
          <ac:cxnSpMkLst>
            <pc:docMk/>
            <pc:sldMk cId="2497064491" sldId="2146845473"/>
            <ac:cxnSpMk id="87" creationId="{19A9C982-1B7C-4AAC-B1FE-C192C9CD6C64}"/>
          </ac:cxnSpMkLst>
        </pc:cxnChg>
      </pc:sldChg>
      <pc:sldChg chg="addSp modSp add mod ord modShow">
        <pc:chgData name="Alexander Richwood" userId="6a746949-975a-4404-914f-fa4a61014c27" providerId="ADAL" clId="{BB616311-6EC6-446B-B3DE-15ABD103BC7E}" dt="2021-05-05T10:59:03.277" v="1282"/>
        <pc:sldMkLst>
          <pc:docMk/>
          <pc:sldMk cId="4166993874" sldId="2146845475"/>
        </pc:sldMkLst>
        <pc:spChg chg="add mod">
          <ac:chgData name="Alexander Richwood" userId="6a746949-975a-4404-914f-fa4a61014c27" providerId="ADAL" clId="{BB616311-6EC6-446B-B3DE-15ABD103BC7E}" dt="2021-05-04T12:06:09.547" v="202" actId="20577"/>
          <ac:spMkLst>
            <pc:docMk/>
            <pc:sldMk cId="4166993874" sldId="2146845475"/>
            <ac:spMk id="26" creationId="{DFF1A688-2CC7-44FF-AFBC-1CD2197AC715}"/>
          </ac:spMkLst>
        </pc:spChg>
      </pc:sldChg>
      <pc:sldChg chg="add">
        <pc:chgData name="Alexander Richwood" userId="6a746949-975a-4404-914f-fa4a61014c27" providerId="ADAL" clId="{BB616311-6EC6-446B-B3DE-15ABD103BC7E}" dt="2021-05-04T12:04:43.389" v="104"/>
        <pc:sldMkLst>
          <pc:docMk/>
          <pc:sldMk cId="2959590063" sldId="2146845483"/>
        </pc:sldMkLst>
      </pc:sldChg>
      <pc:sldChg chg="modSp add mod">
        <pc:chgData name="Alexander Richwood" userId="6a746949-975a-4404-914f-fa4a61014c27" providerId="ADAL" clId="{BB616311-6EC6-446B-B3DE-15ABD103BC7E}" dt="2021-05-04T12:18:55.101" v="356" actId="20577"/>
        <pc:sldMkLst>
          <pc:docMk/>
          <pc:sldMk cId="2430352248" sldId="2146845484"/>
        </pc:sldMkLst>
        <pc:spChg chg="mod">
          <ac:chgData name="Alexander Richwood" userId="6a746949-975a-4404-914f-fa4a61014c27" providerId="ADAL" clId="{BB616311-6EC6-446B-B3DE-15ABD103BC7E}" dt="2021-05-04T12:18:55.101" v="356" actId="20577"/>
          <ac:spMkLst>
            <pc:docMk/>
            <pc:sldMk cId="2430352248" sldId="2146845484"/>
            <ac:spMk id="2" creationId="{62DFFE52-DA02-4725-8FD1-E84CDE76ABF2}"/>
          </ac:spMkLst>
        </pc:spChg>
      </pc:sldChg>
      <pc:sldChg chg="modSp add mod">
        <pc:chgData name="Alexander Richwood" userId="6a746949-975a-4404-914f-fa4a61014c27" providerId="ADAL" clId="{BB616311-6EC6-446B-B3DE-15ABD103BC7E}" dt="2021-05-04T12:28:14.822" v="365" actId="20577"/>
        <pc:sldMkLst>
          <pc:docMk/>
          <pc:sldMk cId="1101184185" sldId="2146845485"/>
        </pc:sldMkLst>
        <pc:spChg chg="mod">
          <ac:chgData name="Alexander Richwood" userId="6a746949-975a-4404-914f-fa4a61014c27" providerId="ADAL" clId="{BB616311-6EC6-446B-B3DE-15ABD103BC7E}" dt="2021-05-04T12:28:14.822" v="365" actId="20577"/>
          <ac:spMkLst>
            <pc:docMk/>
            <pc:sldMk cId="1101184185" sldId="2146845485"/>
            <ac:spMk id="2" creationId="{62DFFE52-DA02-4725-8FD1-E84CDE76ABF2}"/>
          </ac:spMkLst>
        </pc:spChg>
      </pc:sldChg>
      <pc:sldChg chg="modSp add mod">
        <pc:chgData name="Alexander Richwood" userId="6a746949-975a-4404-914f-fa4a61014c27" providerId="ADAL" clId="{BB616311-6EC6-446B-B3DE-15ABD103BC7E}" dt="2021-05-04T12:33:14.775" v="480"/>
        <pc:sldMkLst>
          <pc:docMk/>
          <pc:sldMk cId="1559316264" sldId="2146845486"/>
        </pc:sldMkLst>
        <pc:spChg chg="mod">
          <ac:chgData name="Alexander Richwood" userId="6a746949-975a-4404-914f-fa4a61014c27" providerId="ADAL" clId="{BB616311-6EC6-446B-B3DE-15ABD103BC7E}" dt="2021-05-04T12:33:14.775" v="480"/>
          <ac:spMkLst>
            <pc:docMk/>
            <pc:sldMk cId="1559316264" sldId="2146845486"/>
            <ac:spMk id="2" creationId="{62DFFE52-DA02-4725-8FD1-E84CDE76ABF2}"/>
          </ac:spMkLst>
        </pc:spChg>
      </pc:sldChg>
      <pc:sldChg chg="add del">
        <pc:chgData name="Alexander Richwood" userId="6a746949-975a-4404-914f-fa4a61014c27" providerId="ADAL" clId="{BB616311-6EC6-446B-B3DE-15ABD103BC7E}" dt="2021-05-04T12:34:10.274" v="485"/>
        <pc:sldMkLst>
          <pc:docMk/>
          <pc:sldMk cId="593705447" sldId="2146845487"/>
        </pc:sldMkLst>
      </pc:sldChg>
      <pc:sldChg chg="modSp add mod">
        <pc:chgData name="Alexander Richwood" userId="6a746949-975a-4404-914f-fa4a61014c27" providerId="ADAL" clId="{BB616311-6EC6-446B-B3DE-15ABD103BC7E}" dt="2021-05-04T12:53:20.171" v="637" actId="20577"/>
        <pc:sldMkLst>
          <pc:docMk/>
          <pc:sldMk cId="2376886495" sldId="2146845487"/>
        </pc:sldMkLst>
        <pc:spChg chg="mod">
          <ac:chgData name="Alexander Richwood" userId="6a746949-975a-4404-914f-fa4a61014c27" providerId="ADAL" clId="{BB616311-6EC6-446B-B3DE-15ABD103BC7E}" dt="2021-05-04T12:53:20.171" v="637" actId="20577"/>
          <ac:spMkLst>
            <pc:docMk/>
            <pc:sldMk cId="2376886495" sldId="2146845487"/>
            <ac:spMk id="2" creationId="{62DFFE52-DA02-4725-8FD1-E84CDE76ABF2}"/>
          </ac:spMkLst>
        </pc:spChg>
      </pc:sldChg>
      <pc:sldChg chg="modSp add mod">
        <pc:chgData name="Alexander Richwood" userId="6a746949-975a-4404-914f-fa4a61014c27" providerId="ADAL" clId="{BB616311-6EC6-446B-B3DE-15ABD103BC7E}" dt="2021-05-04T12:53:43.337" v="648" actId="20577"/>
        <pc:sldMkLst>
          <pc:docMk/>
          <pc:sldMk cId="3874741012" sldId="2146845488"/>
        </pc:sldMkLst>
        <pc:spChg chg="mod">
          <ac:chgData name="Alexander Richwood" userId="6a746949-975a-4404-914f-fa4a61014c27" providerId="ADAL" clId="{BB616311-6EC6-446B-B3DE-15ABD103BC7E}" dt="2021-05-04T12:53:43.337" v="648" actId="20577"/>
          <ac:spMkLst>
            <pc:docMk/>
            <pc:sldMk cId="3874741012" sldId="2146845488"/>
            <ac:spMk id="2" creationId="{62DFFE52-DA02-4725-8FD1-E84CDE76ABF2}"/>
          </ac:spMkLst>
        </pc:spChg>
      </pc:sldChg>
      <pc:sldMasterChg chg="del delSldLayout">
        <pc:chgData name="Alexander Richwood" userId="6a746949-975a-4404-914f-fa4a61014c27" providerId="ADAL" clId="{BB616311-6EC6-446B-B3DE-15ABD103BC7E}" dt="2021-05-04T11:57:44.412" v="3" actId="47"/>
        <pc:sldMasterMkLst>
          <pc:docMk/>
          <pc:sldMasterMk cId="2460954070" sldId="2147483660"/>
        </pc:sldMasterMkLst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2385387890" sldId="2147483661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949138452" sldId="2147483662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2591524520" sldId="2147483663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1203092039" sldId="2147483664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3733172339" sldId="2147483665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3210312558" sldId="2147483666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3146388984" sldId="2147483667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3171841454" sldId="2147483668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1718958274" sldId="2147483669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2202905451" sldId="2147483670"/>
          </pc:sldLayoutMkLst>
        </pc:sldLayoutChg>
        <pc:sldLayoutChg chg="del">
          <pc:chgData name="Alexander Richwood" userId="6a746949-975a-4404-914f-fa4a61014c27" providerId="ADAL" clId="{BB616311-6EC6-446B-B3DE-15ABD103BC7E}" dt="2021-05-04T11:57:44.412" v="3" actId="47"/>
          <pc:sldLayoutMkLst>
            <pc:docMk/>
            <pc:sldMasterMk cId="2460954070" sldId="2147483660"/>
            <pc:sldLayoutMk cId="3479445657" sldId="2147483671"/>
          </pc:sldLayoutMkLst>
        </pc:sldLayoutChg>
      </pc:sldMasterChg>
    </pc:docChg>
  </pc:docChgLst>
  <pc:docChgLst>
    <pc:chgData name="Alexandre Raynaud" userId="S::alexandre.raynaud@veeva.com::62013f2f-fa8b-4728-ba61-7c17181a1d4e" providerId="AD" clId="Web-{E8899BDD-0971-4B1F-3FE1-E13CE4856F6E}"/>
    <pc:docChg chg="modSld">
      <pc:chgData name="Alexandre Raynaud" userId="S::alexandre.raynaud@veeva.com::62013f2f-fa8b-4728-ba61-7c17181a1d4e" providerId="AD" clId="Web-{E8899BDD-0971-4B1F-3FE1-E13CE4856F6E}" dt="2021-05-05T07:21:59.227" v="10"/>
      <pc:docMkLst>
        <pc:docMk/>
      </pc:docMkLst>
      <pc:sldChg chg="modSp">
        <pc:chgData name="Alexandre Raynaud" userId="S::alexandre.raynaud@veeva.com::62013f2f-fa8b-4728-ba61-7c17181a1d4e" providerId="AD" clId="Web-{E8899BDD-0971-4B1F-3FE1-E13CE4856F6E}" dt="2021-05-05T07:21:00.868" v="8" actId="20577"/>
        <pc:sldMkLst>
          <pc:docMk/>
          <pc:sldMk cId="4248051299" sldId="2146845470"/>
        </pc:sldMkLst>
        <pc:spChg chg="mod">
          <ac:chgData name="Alexandre Raynaud" userId="S::alexandre.raynaud@veeva.com::62013f2f-fa8b-4728-ba61-7c17181a1d4e" providerId="AD" clId="Web-{E8899BDD-0971-4B1F-3FE1-E13CE4856F6E}" dt="2021-05-05T07:21:00.868" v="8" actId="20577"/>
          <ac:spMkLst>
            <pc:docMk/>
            <pc:sldMk cId="4248051299" sldId="2146845470"/>
            <ac:spMk id="2" creationId="{3451F6DA-66D1-47D0-9D9D-FD423D814993}"/>
          </ac:spMkLst>
        </pc:spChg>
      </pc:sldChg>
      <pc:sldChg chg="addCm modCm">
        <pc:chgData name="Alexandre Raynaud" userId="S::alexandre.raynaud@veeva.com::62013f2f-fa8b-4728-ba61-7c17181a1d4e" providerId="AD" clId="Web-{E8899BDD-0971-4B1F-3FE1-E13CE4856F6E}" dt="2021-05-05T07:21:59.227" v="10"/>
        <pc:sldMkLst>
          <pc:docMk/>
          <pc:sldMk cId="3901396449" sldId="2146845472"/>
        </pc:sldMkLst>
      </pc:sldChg>
    </pc:docChg>
  </pc:docChgLst>
  <pc:docChgLst>
    <pc:chgData name="Gareth Allott" userId="d67bc1e7-5e6e-4540-bcf9-468a02f7a83e" providerId="ADAL" clId="{FA1643D3-A720-49F2-BB83-1AFCB212AB8F}"/>
    <pc:docChg chg="undo custSel addSld delSld modSld sldOrd">
      <pc:chgData name="Gareth Allott" userId="d67bc1e7-5e6e-4540-bcf9-468a02f7a83e" providerId="ADAL" clId="{FA1643D3-A720-49F2-BB83-1AFCB212AB8F}" dt="2021-05-05T12:50:07.797" v="1992" actId="20577"/>
      <pc:docMkLst>
        <pc:docMk/>
      </pc:docMkLst>
      <pc:sldChg chg="addSp delSp modSp mod ord modShow">
        <pc:chgData name="Gareth Allott" userId="d67bc1e7-5e6e-4540-bcf9-468a02f7a83e" providerId="ADAL" clId="{FA1643D3-A720-49F2-BB83-1AFCB212AB8F}" dt="2021-05-05T12:20:37.712" v="1081" actId="5793"/>
        <pc:sldMkLst>
          <pc:docMk/>
          <pc:sldMk cId="41267932" sldId="2146845372"/>
        </pc:sldMkLst>
        <pc:spChg chg="mod">
          <ac:chgData name="Gareth Allott" userId="d67bc1e7-5e6e-4540-bcf9-468a02f7a83e" providerId="ADAL" clId="{FA1643D3-A720-49F2-BB83-1AFCB212AB8F}" dt="2021-05-05T11:28:02.738" v="1075" actId="20577"/>
          <ac:spMkLst>
            <pc:docMk/>
            <pc:sldMk cId="41267932" sldId="2146845372"/>
            <ac:spMk id="2" creationId="{ED2FC044-BEDA-42E8-913B-B30EC113F11D}"/>
          </ac:spMkLst>
        </pc:spChg>
        <pc:spChg chg="add del mod">
          <ac:chgData name="Gareth Allott" userId="d67bc1e7-5e6e-4540-bcf9-468a02f7a83e" providerId="ADAL" clId="{FA1643D3-A720-49F2-BB83-1AFCB212AB8F}" dt="2021-05-05T11:27:37.233" v="1068" actId="1076"/>
          <ac:spMkLst>
            <pc:docMk/>
            <pc:sldMk cId="41267932" sldId="2146845372"/>
            <ac:spMk id="5" creationId="{BCC68F0D-3E61-4D8E-8595-89DA89762F49}"/>
          </ac:spMkLst>
        </pc:spChg>
        <pc:spChg chg="mod">
          <ac:chgData name="Gareth Allott" userId="d67bc1e7-5e6e-4540-bcf9-468a02f7a83e" providerId="ADAL" clId="{FA1643D3-A720-49F2-BB83-1AFCB212AB8F}" dt="2021-05-05T12:20:37.712" v="1081" actId="5793"/>
          <ac:spMkLst>
            <pc:docMk/>
            <pc:sldMk cId="41267932" sldId="2146845372"/>
            <ac:spMk id="6" creationId="{99B84020-79A9-4C48-9FEC-E870B6547AF7}"/>
          </ac:spMkLst>
        </pc:spChg>
        <pc:spChg chg="add del mod">
          <ac:chgData name="Gareth Allott" userId="d67bc1e7-5e6e-4540-bcf9-468a02f7a83e" providerId="ADAL" clId="{FA1643D3-A720-49F2-BB83-1AFCB212AB8F}" dt="2021-05-05T11:11:41.797" v="1060" actId="478"/>
          <ac:spMkLst>
            <pc:docMk/>
            <pc:sldMk cId="41267932" sldId="2146845372"/>
            <ac:spMk id="8" creationId="{DE19276A-5116-48B9-B564-2D2F433C9678}"/>
          </ac:spMkLst>
        </pc:spChg>
        <pc:spChg chg="add del mod">
          <ac:chgData name="Gareth Allott" userId="d67bc1e7-5e6e-4540-bcf9-468a02f7a83e" providerId="ADAL" clId="{FA1643D3-A720-49F2-BB83-1AFCB212AB8F}" dt="2021-05-05T11:27:36.862" v="1067" actId="478"/>
          <ac:spMkLst>
            <pc:docMk/>
            <pc:sldMk cId="41267932" sldId="2146845372"/>
            <ac:spMk id="10" creationId="{4B03FF8A-9649-4A23-8437-E2B156B513B8}"/>
          </ac:spMkLst>
        </pc:spChg>
      </pc:sldChg>
      <pc:sldChg chg="modSp mod">
        <pc:chgData name="Gareth Allott" userId="d67bc1e7-5e6e-4540-bcf9-468a02f7a83e" providerId="ADAL" clId="{FA1643D3-A720-49F2-BB83-1AFCB212AB8F}" dt="2021-05-05T12:01:14.386" v="1078" actId="20577"/>
        <pc:sldMkLst>
          <pc:docMk/>
          <pc:sldMk cId="4080574388" sldId="2146845442"/>
        </pc:sldMkLst>
        <pc:graphicFrameChg chg="modGraphic">
          <ac:chgData name="Gareth Allott" userId="d67bc1e7-5e6e-4540-bcf9-468a02f7a83e" providerId="ADAL" clId="{FA1643D3-A720-49F2-BB83-1AFCB212AB8F}" dt="2021-05-05T12:01:14.386" v="1078" actId="20577"/>
          <ac:graphicFrameMkLst>
            <pc:docMk/>
            <pc:sldMk cId="4080574388" sldId="2146845442"/>
            <ac:graphicFrameMk id="4" creationId="{5DA8D63F-9C7B-9049-A963-9B83E9891FBA}"/>
          </ac:graphicFrameMkLst>
        </pc:graphicFrameChg>
      </pc:sldChg>
      <pc:sldChg chg="addSp delSp modSp mod">
        <pc:chgData name="Gareth Allott" userId="d67bc1e7-5e6e-4540-bcf9-468a02f7a83e" providerId="ADAL" clId="{FA1643D3-A720-49F2-BB83-1AFCB212AB8F}" dt="2021-05-05T11:28:00.016" v="1073" actId="20577"/>
        <pc:sldMkLst>
          <pc:docMk/>
          <pc:sldMk cId="823817614" sldId="2146845445"/>
        </pc:sldMkLst>
        <pc:spChg chg="mod">
          <ac:chgData name="Gareth Allott" userId="d67bc1e7-5e6e-4540-bcf9-468a02f7a83e" providerId="ADAL" clId="{FA1643D3-A720-49F2-BB83-1AFCB212AB8F}" dt="2021-05-05T11:28:00.016" v="1073" actId="20577"/>
          <ac:spMkLst>
            <pc:docMk/>
            <pc:sldMk cId="823817614" sldId="2146845445"/>
            <ac:spMk id="2" creationId="{ED2FC044-BEDA-42E8-913B-B30EC113F11D}"/>
          </ac:spMkLst>
        </pc:spChg>
        <pc:spChg chg="mod">
          <ac:chgData name="Gareth Allott" userId="d67bc1e7-5e6e-4540-bcf9-468a02f7a83e" providerId="ADAL" clId="{FA1643D3-A720-49F2-BB83-1AFCB212AB8F}" dt="2021-05-04T17:28:55.853" v="989" actId="20577"/>
          <ac:spMkLst>
            <pc:docMk/>
            <pc:sldMk cId="823817614" sldId="2146845445"/>
            <ac:spMk id="5" creationId="{BCC68F0D-3E61-4D8E-8595-89DA89762F49}"/>
          </ac:spMkLst>
        </pc:spChg>
        <pc:spChg chg="mod">
          <ac:chgData name="Gareth Allott" userId="d67bc1e7-5e6e-4540-bcf9-468a02f7a83e" providerId="ADAL" clId="{FA1643D3-A720-49F2-BB83-1AFCB212AB8F}" dt="2021-05-04T17:29:15.962" v="1007" actId="20577"/>
          <ac:spMkLst>
            <pc:docMk/>
            <pc:sldMk cId="823817614" sldId="2146845445"/>
            <ac:spMk id="6" creationId="{99B84020-79A9-4C48-9FEC-E870B6547AF7}"/>
          </ac:spMkLst>
        </pc:spChg>
        <pc:spChg chg="add del mod">
          <ac:chgData name="Gareth Allott" userId="d67bc1e7-5e6e-4540-bcf9-468a02f7a83e" providerId="ADAL" clId="{FA1643D3-A720-49F2-BB83-1AFCB212AB8F}" dt="2021-05-04T17:28:57.577" v="990" actId="478"/>
          <ac:spMkLst>
            <pc:docMk/>
            <pc:sldMk cId="823817614" sldId="2146845445"/>
            <ac:spMk id="8" creationId="{B9F5929A-ADBC-409F-B2BA-F632F853A83C}"/>
          </ac:spMkLst>
        </pc:spChg>
      </pc:sldChg>
      <pc:sldChg chg="addSp delSp modSp mod ord">
        <pc:chgData name="Gareth Allott" userId="d67bc1e7-5e6e-4540-bcf9-468a02f7a83e" providerId="ADAL" clId="{FA1643D3-A720-49F2-BB83-1AFCB212AB8F}" dt="2021-05-05T12:50:07.797" v="1992" actId="20577"/>
        <pc:sldMkLst>
          <pc:docMk/>
          <pc:sldMk cId="3549728862" sldId="2146845446"/>
        </pc:sldMkLst>
        <pc:spChg chg="mod">
          <ac:chgData name="Gareth Allott" userId="d67bc1e7-5e6e-4540-bcf9-468a02f7a83e" providerId="ADAL" clId="{FA1643D3-A720-49F2-BB83-1AFCB212AB8F}" dt="2021-05-05T11:27:57.994" v="1071" actId="20577"/>
          <ac:spMkLst>
            <pc:docMk/>
            <pc:sldMk cId="3549728862" sldId="2146845446"/>
            <ac:spMk id="2" creationId="{ED2FC044-BEDA-42E8-913B-B30EC113F11D}"/>
          </ac:spMkLst>
        </pc:spChg>
        <pc:spChg chg="mod">
          <ac:chgData name="Gareth Allott" userId="d67bc1e7-5e6e-4540-bcf9-468a02f7a83e" providerId="ADAL" clId="{FA1643D3-A720-49F2-BB83-1AFCB212AB8F}" dt="2021-05-05T12:50:07.797" v="1992" actId="20577"/>
          <ac:spMkLst>
            <pc:docMk/>
            <pc:sldMk cId="3549728862" sldId="2146845446"/>
            <ac:spMk id="6" creationId="{99B84020-79A9-4C48-9FEC-E870B6547AF7}"/>
          </ac:spMkLst>
        </pc:spChg>
        <pc:spChg chg="add del mod">
          <ac:chgData name="Gareth Allott" userId="d67bc1e7-5e6e-4540-bcf9-468a02f7a83e" providerId="ADAL" clId="{FA1643D3-A720-49F2-BB83-1AFCB212AB8F}" dt="2021-05-05T11:11:53.888" v="1061" actId="478"/>
          <ac:spMkLst>
            <pc:docMk/>
            <pc:sldMk cId="3549728862" sldId="2146845446"/>
            <ac:spMk id="8" creationId="{7DDF6FD2-C4AC-4C28-A423-848EA44230F3}"/>
          </ac:spMkLst>
        </pc:spChg>
      </pc:sldChg>
      <pc:sldChg chg="addSp delSp modSp mod delCm">
        <pc:chgData name="Gareth Allott" userId="d67bc1e7-5e6e-4540-bcf9-468a02f7a83e" providerId="ADAL" clId="{FA1643D3-A720-49F2-BB83-1AFCB212AB8F}" dt="2021-05-04T17:17:11.591" v="978" actId="1592"/>
        <pc:sldMkLst>
          <pc:docMk/>
          <pc:sldMk cId="1943691831" sldId="2146845458"/>
        </pc:sldMkLst>
        <pc:spChg chg="del">
          <ac:chgData name="Gareth Allott" userId="d67bc1e7-5e6e-4540-bcf9-468a02f7a83e" providerId="ADAL" clId="{FA1643D3-A720-49F2-BB83-1AFCB212AB8F}" dt="2021-05-04T17:16:19.441" v="966" actId="478"/>
          <ac:spMkLst>
            <pc:docMk/>
            <pc:sldMk cId="1943691831" sldId="2146845458"/>
            <ac:spMk id="2" creationId="{386D3392-54AD-4BC9-9866-82C32E5D4C8F}"/>
          </ac:spMkLst>
        </pc:spChg>
        <pc:spChg chg="del">
          <ac:chgData name="Gareth Allott" userId="d67bc1e7-5e6e-4540-bcf9-468a02f7a83e" providerId="ADAL" clId="{FA1643D3-A720-49F2-BB83-1AFCB212AB8F}" dt="2021-05-04T17:16:52.913" v="968" actId="478"/>
          <ac:spMkLst>
            <pc:docMk/>
            <pc:sldMk cId="1943691831" sldId="2146845458"/>
            <ac:spMk id="15" creationId="{8C6F5DE9-A61E-4068-90AD-72B3722D1A0A}"/>
          </ac:spMkLst>
        </pc:spChg>
        <pc:spChg chg="mod">
          <ac:chgData name="Gareth Allott" userId="d67bc1e7-5e6e-4540-bcf9-468a02f7a83e" providerId="ADAL" clId="{FA1643D3-A720-49F2-BB83-1AFCB212AB8F}" dt="2021-05-04T17:17:08.637" v="977" actId="1076"/>
          <ac:spMkLst>
            <pc:docMk/>
            <pc:sldMk cId="1943691831" sldId="2146845458"/>
            <ac:spMk id="21" creationId="{1E8EC1B5-E866-4D1D-80ED-1243B9C69250}"/>
          </ac:spMkLst>
        </pc:spChg>
        <pc:picChg chg="add mod ord">
          <ac:chgData name="Gareth Allott" userId="d67bc1e7-5e6e-4540-bcf9-468a02f7a83e" providerId="ADAL" clId="{FA1643D3-A720-49F2-BB83-1AFCB212AB8F}" dt="2021-05-04T17:16:59.792" v="972" actId="167"/>
          <ac:picMkLst>
            <pc:docMk/>
            <pc:sldMk cId="1943691831" sldId="2146845458"/>
            <ac:picMk id="4" creationId="{51F1BB10-53FA-4AC4-9793-DB71BB9C9F12}"/>
          </ac:picMkLst>
        </pc:picChg>
        <pc:picChg chg="del">
          <ac:chgData name="Gareth Allott" userId="d67bc1e7-5e6e-4540-bcf9-468a02f7a83e" providerId="ADAL" clId="{FA1643D3-A720-49F2-BB83-1AFCB212AB8F}" dt="2021-05-04T17:16:50.668" v="967" actId="478"/>
          <ac:picMkLst>
            <pc:docMk/>
            <pc:sldMk cId="1943691831" sldId="2146845458"/>
            <ac:picMk id="17" creationId="{03075282-E118-43D1-8F72-2098A1CCA66F}"/>
          </ac:picMkLst>
        </pc:picChg>
      </pc:sldChg>
      <pc:sldChg chg="addSp delSp modSp mod">
        <pc:chgData name="Gareth Allott" userId="d67bc1e7-5e6e-4540-bcf9-468a02f7a83e" providerId="ADAL" clId="{FA1643D3-A720-49F2-BB83-1AFCB212AB8F}" dt="2021-05-05T12:29:46.648" v="1501" actId="20577"/>
        <pc:sldMkLst>
          <pc:docMk/>
          <pc:sldMk cId="3435418820" sldId="2146845461"/>
        </pc:sldMkLst>
        <pc:spChg chg="add mod">
          <ac:chgData name="Gareth Allott" userId="d67bc1e7-5e6e-4540-bcf9-468a02f7a83e" providerId="ADAL" clId="{FA1643D3-A720-49F2-BB83-1AFCB212AB8F}" dt="2021-05-05T12:23:43.371" v="1184" actId="20577"/>
          <ac:spMkLst>
            <pc:docMk/>
            <pc:sldMk cId="3435418820" sldId="2146845461"/>
            <ac:spMk id="3" creationId="{25114ACC-77DD-43CB-81B0-518F2CC54D9F}"/>
          </ac:spMkLst>
        </pc:spChg>
        <pc:spChg chg="add del mod">
          <ac:chgData name="Gareth Allott" userId="d67bc1e7-5e6e-4540-bcf9-468a02f7a83e" providerId="ADAL" clId="{FA1643D3-A720-49F2-BB83-1AFCB212AB8F}" dt="2021-05-04T13:52:51.536" v="304" actId="478"/>
          <ac:spMkLst>
            <pc:docMk/>
            <pc:sldMk cId="3435418820" sldId="2146845461"/>
            <ac:spMk id="10" creationId="{EBDF6205-8299-4B8E-8F2D-BA39931883A8}"/>
          </ac:spMkLst>
        </pc:spChg>
        <pc:spChg chg="add mod">
          <ac:chgData name="Gareth Allott" userId="d67bc1e7-5e6e-4540-bcf9-468a02f7a83e" providerId="ADAL" clId="{FA1643D3-A720-49F2-BB83-1AFCB212AB8F}" dt="2021-05-05T12:29:39.428" v="1498" actId="1076"/>
          <ac:spMkLst>
            <pc:docMk/>
            <pc:sldMk cId="3435418820" sldId="2146845461"/>
            <ac:spMk id="12" creationId="{CA2B5110-20E2-4202-8BB1-E4DDC9B6723E}"/>
          </ac:spMkLst>
        </pc:spChg>
        <pc:spChg chg="add mod">
          <ac:chgData name="Gareth Allott" userId="d67bc1e7-5e6e-4540-bcf9-468a02f7a83e" providerId="ADAL" clId="{FA1643D3-A720-49F2-BB83-1AFCB212AB8F}" dt="2021-05-05T12:29:46.648" v="1501" actId="20577"/>
          <ac:spMkLst>
            <pc:docMk/>
            <pc:sldMk cId="3435418820" sldId="2146845461"/>
            <ac:spMk id="13" creationId="{5818C2E6-B9AE-4834-A9C4-E4ED9E511848}"/>
          </ac:spMkLst>
        </pc:spChg>
        <pc:spChg chg="mod">
          <ac:chgData name="Gareth Allott" userId="d67bc1e7-5e6e-4540-bcf9-468a02f7a83e" providerId="ADAL" clId="{FA1643D3-A720-49F2-BB83-1AFCB212AB8F}" dt="2021-05-05T12:21:25.682" v="1086" actId="20577"/>
          <ac:spMkLst>
            <pc:docMk/>
            <pc:sldMk cId="3435418820" sldId="2146845461"/>
            <ac:spMk id="29" creationId="{E8CC11C8-CCFB-49BC-9E57-55571375C5BF}"/>
          </ac:spMkLst>
        </pc:spChg>
      </pc:sldChg>
      <pc:sldChg chg="modSp mod">
        <pc:chgData name="Gareth Allott" userId="d67bc1e7-5e6e-4540-bcf9-468a02f7a83e" providerId="ADAL" clId="{FA1643D3-A720-49F2-BB83-1AFCB212AB8F}" dt="2021-05-04T13:49:55.663" v="13" actId="20577"/>
        <pc:sldMkLst>
          <pc:docMk/>
          <pc:sldMk cId="4248051299" sldId="2146845470"/>
        </pc:sldMkLst>
        <pc:spChg chg="mod">
          <ac:chgData name="Gareth Allott" userId="d67bc1e7-5e6e-4540-bcf9-468a02f7a83e" providerId="ADAL" clId="{FA1643D3-A720-49F2-BB83-1AFCB212AB8F}" dt="2021-05-04T13:49:55.663" v="13" actId="20577"/>
          <ac:spMkLst>
            <pc:docMk/>
            <pc:sldMk cId="4248051299" sldId="2146845470"/>
            <ac:spMk id="2" creationId="{3451F6DA-66D1-47D0-9D9D-FD423D814993}"/>
          </ac:spMkLst>
        </pc:spChg>
      </pc:sldChg>
      <pc:sldChg chg="addSp modSp mod">
        <pc:chgData name="Gareth Allott" userId="d67bc1e7-5e6e-4540-bcf9-468a02f7a83e" providerId="ADAL" clId="{FA1643D3-A720-49F2-BB83-1AFCB212AB8F}" dt="2021-05-04T13:50:50.402" v="64" actId="14100"/>
        <pc:sldMkLst>
          <pc:docMk/>
          <pc:sldMk cId="2497064491" sldId="2146845473"/>
        </pc:sldMkLst>
        <pc:spChg chg="add mod">
          <ac:chgData name="Gareth Allott" userId="d67bc1e7-5e6e-4540-bcf9-468a02f7a83e" providerId="ADAL" clId="{FA1643D3-A720-49F2-BB83-1AFCB212AB8F}" dt="2021-05-04T13:50:50.402" v="64" actId="14100"/>
          <ac:spMkLst>
            <pc:docMk/>
            <pc:sldMk cId="2497064491" sldId="2146845473"/>
            <ac:spMk id="3" creationId="{243C1F09-C194-42DB-8E8E-0724FA2BBFA2}"/>
          </ac:spMkLst>
        </pc:spChg>
      </pc:sldChg>
      <pc:sldChg chg="modSp mod">
        <pc:chgData name="Gareth Allott" userId="d67bc1e7-5e6e-4540-bcf9-468a02f7a83e" providerId="ADAL" clId="{FA1643D3-A720-49F2-BB83-1AFCB212AB8F}" dt="2021-05-04T13:52:21.685" v="301" actId="20577"/>
        <pc:sldMkLst>
          <pc:docMk/>
          <pc:sldMk cId="4166993874" sldId="2146845475"/>
        </pc:sldMkLst>
        <pc:spChg chg="mod">
          <ac:chgData name="Gareth Allott" userId="d67bc1e7-5e6e-4540-bcf9-468a02f7a83e" providerId="ADAL" clId="{FA1643D3-A720-49F2-BB83-1AFCB212AB8F}" dt="2021-05-04T13:52:21.685" v="301" actId="20577"/>
          <ac:spMkLst>
            <pc:docMk/>
            <pc:sldMk cId="4166993874" sldId="2146845475"/>
            <ac:spMk id="26" creationId="{DFF1A688-2CC7-44FF-AFBC-1CD2197AC715}"/>
          </ac:spMkLst>
        </pc:spChg>
      </pc:sldChg>
      <pc:sldChg chg="new del">
        <pc:chgData name="Gareth Allott" userId="d67bc1e7-5e6e-4540-bcf9-468a02f7a83e" providerId="ADAL" clId="{FA1643D3-A720-49F2-BB83-1AFCB212AB8F}" dt="2021-05-04T15:14:35.918" v="702" actId="680"/>
        <pc:sldMkLst>
          <pc:docMk/>
          <pc:sldMk cId="2768888884" sldId="2146845489"/>
        </pc:sldMkLst>
      </pc:sldChg>
      <pc:sldChg chg="addSp delSp modSp new mod">
        <pc:chgData name="Gareth Allott" userId="d67bc1e7-5e6e-4540-bcf9-468a02f7a83e" providerId="ADAL" clId="{FA1643D3-A720-49F2-BB83-1AFCB212AB8F}" dt="2021-05-05T12:41:32.401" v="1952" actId="14100"/>
        <pc:sldMkLst>
          <pc:docMk/>
          <pc:sldMk cId="3457006122" sldId="2146845489"/>
        </pc:sldMkLst>
        <pc:spChg chg="mod">
          <ac:chgData name="Gareth Allott" userId="d67bc1e7-5e6e-4540-bcf9-468a02f7a83e" providerId="ADAL" clId="{FA1643D3-A720-49F2-BB83-1AFCB212AB8F}" dt="2021-05-04T17:12:37.022" v="755" actId="20577"/>
          <ac:spMkLst>
            <pc:docMk/>
            <pc:sldMk cId="3457006122" sldId="2146845489"/>
            <ac:spMk id="2" creationId="{BC326C2B-F0CF-4943-BCB7-441225A6B49F}"/>
          </ac:spMkLst>
        </pc:spChg>
        <pc:spChg chg="del mod">
          <ac:chgData name="Gareth Allott" userId="d67bc1e7-5e6e-4540-bcf9-468a02f7a83e" providerId="ADAL" clId="{FA1643D3-A720-49F2-BB83-1AFCB212AB8F}" dt="2021-05-04T17:13:49.534" v="838" actId="478"/>
          <ac:spMkLst>
            <pc:docMk/>
            <pc:sldMk cId="3457006122" sldId="2146845489"/>
            <ac:spMk id="3" creationId="{03B7B13D-8A33-47BE-B15A-846241D7B78E}"/>
          </ac:spMkLst>
        </pc:spChg>
        <pc:spChg chg="add mod">
          <ac:chgData name="Gareth Allott" userId="d67bc1e7-5e6e-4540-bcf9-468a02f7a83e" providerId="ADAL" clId="{FA1643D3-A720-49F2-BB83-1AFCB212AB8F}" dt="2021-05-05T12:41:32.401" v="1952" actId="14100"/>
          <ac:spMkLst>
            <pc:docMk/>
            <pc:sldMk cId="3457006122" sldId="2146845489"/>
            <ac:spMk id="4" creationId="{85585D11-A36F-4E5F-9370-0E29C477B75F}"/>
          </ac:spMkLst>
        </pc:spChg>
        <pc:spChg chg="add del mod">
          <ac:chgData name="Gareth Allott" userId="d67bc1e7-5e6e-4540-bcf9-468a02f7a83e" providerId="ADAL" clId="{FA1643D3-A720-49F2-BB83-1AFCB212AB8F}" dt="2021-05-04T17:13:50.951" v="839" actId="478"/>
          <ac:spMkLst>
            <pc:docMk/>
            <pc:sldMk cId="3457006122" sldId="2146845489"/>
            <ac:spMk id="6" creationId="{8BF94637-FD50-492C-B2B0-772C9C150D7B}"/>
          </ac:spMkLst>
        </pc:spChg>
        <pc:spChg chg="add mod">
          <ac:chgData name="Gareth Allott" userId="d67bc1e7-5e6e-4540-bcf9-468a02f7a83e" providerId="ADAL" clId="{FA1643D3-A720-49F2-BB83-1AFCB212AB8F}" dt="2021-05-05T07:43:20.949" v="1059" actId="20577"/>
          <ac:spMkLst>
            <pc:docMk/>
            <pc:sldMk cId="3457006122" sldId="2146845489"/>
            <ac:spMk id="7" creationId="{42F72D5B-1C3C-4595-B168-6FB556449C02}"/>
          </ac:spMkLst>
        </pc:spChg>
        <pc:picChg chg="add mod">
          <ac:chgData name="Gareth Allott" userId="d67bc1e7-5e6e-4540-bcf9-468a02f7a83e" providerId="ADAL" clId="{FA1643D3-A720-49F2-BB83-1AFCB212AB8F}" dt="2021-05-04T17:15:52.419" v="964" actId="1076"/>
          <ac:picMkLst>
            <pc:docMk/>
            <pc:sldMk cId="3457006122" sldId="2146845489"/>
            <ac:picMk id="9" creationId="{81111DA5-9726-4CD7-8C5D-54D59BC68A4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5DCA5-8D45-4363-8EDA-BF2F16B79716}" type="datetimeFigureOut">
              <a:rPr lang="en-GB" smtClean="0"/>
              <a:t>05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B1D637-EE61-4999-A001-F408729164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440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rick</a:t>
            </a:r>
            <a:r>
              <a:rPr kumimoji="0" lang="en-F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, 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lisa, Deborah, Geert, Alessandra, </a:t>
            </a:r>
            <a:r>
              <a:rPr kumimoji="0" lang="en-F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cil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, Camille, Clare, Joha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F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andre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areth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 (Veeva)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12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rsida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GB" sz="12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njela</a:t>
            </a:r>
            <a:r>
              <a:rPr lang="en-GB" sz="1200" i="1">
                <a:solidFill>
                  <a:srgbClr val="000000"/>
                </a:solidFill>
                <a:latin typeface="Tahoma" pitchFamily="-107" charset="0"/>
              </a:rPr>
              <a:t>/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il</a:t>
            </a:r>
            <a:r>
              <a:rPr lang="en-GB" sz="1200" i="1">
                <a:solidFill>
                  <a:srgbClr val="000000"/>
                </a:solidFill>
                <a:latin typeface="Tahoma" pitchFamily="-107" charset="0"/>
              </a:rPr>
              <a:t>/Veronica (DDB) Alice (</a:t>
            </a:r>
            <a:r>
              <a:rPr lang="en-GB" sz="1200" i="1" err="1">
                <a:solidFill>
                  <a:srgbClr val="000000"/>
                </a:solidFill>
                <a:latin typeface="Tahoma" pitchFamily="-107" charset="0"/>
              </a:rPr>
              <a:t>OpenHealth</a:t>
            </a:r>
            <a:r>
              <a:rPr lang="en-GB" sz="1200" i="1">
                <a:solidFill>
                  <a:srgbClr val="000000"/>
                </a:solidFill>
                <a:latin typeface="Tahoma" pitchFamily="-107" charset="0"/>
              </a:rPr>
              <a:t>)</a:t>
            </a:r>
            <a:endParaRPr kumimoji="0" lang="en-GB" sz="12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1D637-EE61-4999-A001-F4087291647F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987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073200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841873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7062775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42961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523006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5628353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12745516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3663377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3879665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7469810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28457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305632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275837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487081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8" imgW="519" imgH="520" progId="TCLayout.ActiveDocument.1">
                  <p:embed/>
                </p:oleObj>
              </mc:Choice>
              <mc:Fallback>
                <p:oleObj name="think-cell Slide" r:id="rId18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718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0" Type="http://schemas.openxmlformats.org/officeDocument/2006/relationships/image" Target="../media/image40.png"/><Relationship Id="rId4" Type="http://schemas.openxmlformats.org/officeDocument/2006/relationships/image" Target="../media/image36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2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2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42739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ing the HCP Journe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 Internationa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07174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y 5</a:t>
            </a:r>
            <a:r>
              <a:rPr kumimoji="0" lang="en-GB" sz="18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2021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748939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AE20B3-C9DF-464A-811A-8E3F8E4A770A}"/>
              </a:ext>
            </a:extLst>
          </p:cNvPr>
          <p:cNvCxnSpPr/>
          <p:nvPr/>
        </p:nvCxnSpPr>
        <p:spPr bwMode="auto">
          <a:xfrm>
            <a:off x="6019800" y="1991888"/>
            <a:ext cx="0" cy="371480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248721"/>
            <a:ext cx="10810627" cy="623862"/>
          </a:xfrm>
        </p:spPr>
        <p:txBody>
          <a:bodyPr/>
          <a:lstStyle/>
          <a:p>
            <a:r>
              <a:rPr lang="en-GB"/>
              <a:t>How we are making this a reality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/>
        </p:nvGraphicFramePr>
        <p:xfrm>
          <a:off x="650837" y="1542265"/>
          <a:ext cx="10730940" cy="4572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715396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6628705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0889280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04167885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2174763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Jun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nd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6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rd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0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57" name="Pentagon 26">
            <a:extLst>
              <a:ext uri="{FF2B5EF4-FFF2-40B4-BE49-F238E27FC236}">
                <a16:creationId xmlns:a16="http://schemas.microsoft.com/office/drawing/2014/main" id="{3117B1F0-B39E-425C-B8EF-B0F7297A9DCA}"/>
              </a:ext>
            </a:extLst>
          </p:cNvPr>
          <p:cNvSpPr/>
          <p:nvPr/>
        </p:nvSpPr>
        <p:spPr bwMode="auto">
          <a:xfrm>
            <a:off x="650835" y="2106269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 existing 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consolidated, granular Adoption Ladder, to bring clarity to the brand strategy, research and segment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C47DF2A-2C1F-43B2-82BD-A6EF83EC0B84}"/>
              </a:ext>
            </a:extLst>
          </p:cNvPr>
          <p:cNvSpPr/>
          <p:nvPr/>
        </p:nvSpPr>
        <p:spPr bwMode="auto">
          <a:xfrm>
            <a:off x="631257" y="2857291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rand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IBD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93C9C4B-CB20-4E1B-9BA2-9792C47751D3}"/>
              </a:ext>
            </a:extLst>
          </p:cNvPr>
          <p:cNvSpPr/>
          <p:nvPr/>
        </p:nvSpPr>
        <p:spPr bwMode="auto">
          <a:xfrm>
            <a:off x="631257" y="3347488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I&amp;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OC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3592990-F76B-4926-B9A1-2BE9A115DABE}"/>
              </a:ext>
            </a:extLst>
          </p:cNvPr>
          <p:cNvSpPr/>
          <p:nvPr/>
        </p:nvSpPr>
        <p:spPr bwMode="auto">
          <a:xfrm>
            <a:off x="631257" y="3837685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I&amp;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- SFE</a:t>
            </a: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138F82C-599D-487F-B7C2-2F6FFFB8299E}"/>
              </a:ext>
            </a:extLst>
          </p:cNvPr>
          <p:cNvSpPr/>
          <p:nvPr/>
        </p:nvSpPr>
        <p:spPr bwMode="auto">
          <a:xfrm>
            <a:off x="631257" y="4327882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amp; Technolog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0763684-CA5F-4EE7-9259-780FBA6B93C4}"/>
              </a:ext>
            </a:extLst>
          </p:cNvPr>
          <p:cNvSpPr/>
          <p:nvPr/>
        </p:nvSpPr>
        <p:spPr bwMode="auto">
          <a:xfrm>
            <a:off x="631257" y="4818079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arket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earc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DE3F776-52DC-4833-8B0D-47EE42C72D18}"/>
              </a:ext>
            </a:extLst>
          </p:cNvPr>
          <p:cNvSpPr/>
          <p:nvPr/>
        </p:nvSpPr>
        <p:spPr bwMode="auto">
          <a:xfrm>
            <a:off x="631257" y="5308278"/>
            <a:ext cx="274958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genci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25C585F-989C-476E-AA0C-A126143A3906}"/>
              </a:ext>
            </a:extLst>
          </p:cNvPr>
          <p:cNvCxnSpPr/>
          <p:nvPr/>
        </p:nvCxnSpPr>
        <p:spPr bwMode="auto">
          <a:xfrm>
            <a:off x="11381777" y="1685925"/>
            <a:ext cx="56257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9" name="Pentagon 26">
            <a:extLst>
              <a:ext uri="{FF2B5EF4-FFF2-40B4-BE49-F238E27FC236}">
                <a16:creationId xmlns:a16="http://schemas.microsoft.com/office/drawing/2014/main" id="{05CD5005-78E0-4877-8143-E8ED626111D1}"/>
              </a:ext>
            </a:extLst>
          </p:cNvPr>
          <p:cNvSpPr/>
          <p:nvPr/>
        </p:nvSpPr>
        <p:spPr bwMode="auto">
          <a:xfrm>
            <a:off x="3629025" y="2106268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Journey Cre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a set of scenario-driven customer journeys, to act as the template for localisation</a:t>
            </a:r>
          </a:p>
        </p:txBody>
      </p:sp>
      <p:sp>
        <p:nvSpPr>
          <p:cNvPr id="70" name="Pentagon 26">
            <a:extLst>
              <a:ext uri="{FF2B5EF4-FFF2-40B4-BE49-F238E27FC236}">
                <a16:creationId xmlns:a16="http://schemas.microsoft.com/office/drawing/2014/main" id="{A549076C-1E13-4349-80A0-09241B6C421A}"/>
              </a:ext>
            </a:extLst>
          </p:cNvPr>
          <p:cNvSpPr/>
          <p:nvPr/>
        </p:nvSpPr>
        <p:spPr bwMode="auto">
          <a:xfrm>
            <a:off x="6607215" y="2097987"/>
            <a:ext cx="4774562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 Local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upported localisation of international Journeys</a:t>
            </a:r>
          </a:p>
        </p:txBody>
      </p:sp>
      <p:pic>
        <p:nvPicPr>
          <p:cNvPr id="71" name="Picture 70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D7C30638-0883-4CEF-9B55-271240B087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544" y="2887768"/>
            <a:ext cx="1814874" cy="1163000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E07EB882-410D-4136-8EE4-F7157DEC7D57}"/>
              </a:ext>
            </a:extLst>
          </p:cNvPr>
          <p:cNvSpPr/>
          <p:nvPr/>
        </p:nvSpPr>
        <p:spPr bwMode="auto">
          <a:xfrm>
            <a:off x="6748991" y="2952821"/>
            <a:ext cx="2628900" cy="4954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ermany (RA &amp; IBD)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A5D08A5-C099-43A3-8302-F05E47C24F7A}"/>
              </a:ext>
            </a:extLst>
          </p:cNvPr>
          <p:cNvSpPr/>
          <p:nvPr/>
        </p:nvSpPr>
        <p:spPr bwMode="auto">
          <a:xfrm>
            <a:off x="6728036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F0885228-9022-45AF-AA68-819D95E5C891}"/>
              </a:ext>
            </a:extLst>
          </p:cNvPr>
          <p:cNvSpPr/>
          <p:nvPr/>
        </p:nvSpPr>
        <p:spPr bwMode="auto">
          <a:xfrm>
            <a:off x="8047610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3FA8051B-14DD-4895-B5F6-08B9FDF6FE2C}"/>
              </a:ext>
            </a:extLst>
          </p:cNvPr>
          <p:cNvSpPr/>
          <p:nvPr/>
        </p:nvSpPr>
        <p:spPr bwMode="auto">
          <a:xfrm>
            <a:off x="9215972" y="3417193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63696CC7-8546-4DA3-AACC-FBF75A9B43B2}"/>
              </a:ext>
            </a:extLst>
          </p:cNvPr>
          <p:cNvSpPr/>
          <p:nvPr/>
        </p:nvSpPr>
        <p:spPr bwMode="auto">
          <a:xfrm>
            <a:off x="6865911" y="5668586"/>
            <a:ext cx="220898" cy="220898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1B3E4-4575-4C5E-BD2C-D4480C4A352C}"/>
              </a:ext>
            </a:extLst>
          </p:cNvPr>
          <p:cNvSpPr txBox="1"/>
          <p:nvPr/>
        </p:nvSpPr>
        <p:spPr>
          <a:xfrm>
            <a:off x="7149041" y="5544356"/>
            <a:ext cx="455295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 x 2hr, cross functional market workshop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ith markets supported in the interim for the time-intensive activitie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Arrow: Right 85">
            <a:extLst>
              <a:ext uri="{FF2B5EF4-FFF2-40B4-BE49-F238E27FC236}">
                <a16:creationId xmlns:a16="http://schemas.microsoft.com/office/drawing/2014/main" id="{0BAFD098-78AD-486D-8F9A-BFDCAA35B1F7}"/>
              </a:ext>
            </a:extLst>
          </p:cNvPr>
          <p:cNvSpPr/>
          <p:nvPr/>
        </p:nvSpPr>
        <p:spPr bwMode="auto">
          <a:xfrm>
            <a:off x="9778999" y="3335640"/>
            <a:ext cx="1964268" cy="852005"/>
          </a:xfrm>
          <a:prstGeom prst="rightArrow">
            <a:avLst>
              <a:gd name="adj1" fmla="val 50000"/>
              <a:gd name="adj2" fmla="val 40063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K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orkshops to occur-  Sept’21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A92260F-7E59-4811-A5AA-B3D16C02F322}"/>
              </a:ext>
            </a:extLst>
          </p:cNvPr>
          <p:cNvSpPr/>
          <p:nvPr/>
        </p:nvSpPr>
        <p:spPr bwMode="auto">
          <a:xfrm>
            <a:off x="7535507" y="4319305"/>
            <a:ext cx="2997026" cy="810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maller Markets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horter engagements with lighter localisation, leveraging both international and larger market Journeys.  Workshop dates TBD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A0CDF946-4381-4D38-A035-501A4270AE1A}"/>
              </a:ext>
            </a:extLst>
          </p:cNvPr>
          <p:cNvSpPr/>
          <p:nvPr/>
        </p:nvSpPr>
        <p:spPr bwMode="auto">
          <a:xfrm>
            <a:off x="8308084" y="5037084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3CA211E2-3AF9-44AB-B220-3900C0F4D42E}"/>
              </a:ext>
            </a:extLst>
          </p:cNvPr>
          <p:cNvSpPr/>
          <p:nvPr/>
        </p:nvSpPr>
        <p:spPr bwMode="auto">
          <a:xfrm>
            <a:off x="9627658" y="5037084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99243F-756A-401B-A0FA-4FBF8DA83233}"/>
              </a:ext>
            </a:extLst>
          </p:cNvPr>
          <p:cNvSpPr txBox="1"/>
          <p:nvPr/>
        </p:nvSpPr>
        <p:spPr>
          <a:xfrm>
            <a:off x="3657605" y="4081280"/>
            <a:ext cx="24383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Journeys currentl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development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FB328-C12D-4A15-8816-5D35FE30BF7C}"/>
              </a:ext>
            </a:extLst>
          </p:cNvPr>
          <p:cNvSpPr txBox="1"/>
          <p:nvPr/>
        </p:nvSpPr>
        <p:spPr>
          <a:xfrm>
            <a:off x="827550" y="781539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reduce market workloads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to maximise outputs, we are working via a localisation model, with heavy support to markets between engagements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3F8A385-1642-4962-88C2-D8112DD4267E}"/>
              </a:ext>
            </a:extLst>
          </p:cNvPr>
          <p:cNvSpPr/>
          <p:nvPr/>
        </p:nvSpPr>
        <p:spPr bwMode="auto">
          <a:xfrm>
            <a:off x="11552275" y="3872382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B9BA97-C8BB-416F-92B9-3B6ABE14B419}"/>
              </a:ext>
            </a:extLst>
          </p:cNvPr>
          <p:cNvSpPr txBox="1"/>
          <p:nvPr/>
        </p:nvSpPr>
        <p:spPr>
          <a:xfrm>
            <a:off x="5727230" y="5773380"/>
            <a:ext cx="8323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/>
              <a:t>Today</a:t>
            </a:r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2497064491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2474913"/>
            <a:ext cx="10048682" cy="1766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sz="3600">
                <a:solidFill>
                  <a:schemeClr val="accent1"/>
                </a:solidFill>
              </a:rPr>
              <a:t>Working Session</a:t>
            </a:r>
            <a:br>
              <a:rPr lang="en-GB" sz="3600" b="1">
                <a:solidFill>
                  <a:schemeClr val="accent1"/>
                </a:solidFill>
              </a:rPr>
            </a:br>
            <a:r>
              <a:rPr lang="en-GB" sz="3200" b="1">
                <a:solidFill>
                  <a:schemeClr val="bg1"/>
                </a:solidFill>
              </a:rPr>
              <a:t>- Framework</a:t>
            </a:r>
            <a:endParaRPr lang="en-FR" kern="0" baseline="3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293474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Framewor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What are the framework elements that we should include in the journeys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20485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BA8C68-DCD7-4B48-A375-E4C7A4836749}"/>
              </a:ext>
            </a:extLst>
          </p:cNvPr>
          <p:cNvSpPr/>
          <p:nvPr/>
        </p:nvSpPr>
        <p:spPr bwMode="auto">
          <a:xfrm>
            <a:off x="213064" y="1704513"/>
            <a:ext cx="4526536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400">
              <a:latin typeface="Tahoma" pitchFamily="-107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622D44-E85F-442B-90A1-C8DBB4CFBC9E}"/>
              </a:ext>
            </a:extLst>
          </p:cNvPr>
          <p:cNvSpPr/>
          <p:nvPr/>
        </p:nvSpPr>
        <p:spPr bwMode="auto">
          <a:xfrm>
            <a:off x="5498980" y="1704513"/>
            <a:ext cx="2845248" cy="49025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Compon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10806722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/>
              <a:t>In order to accelerate the creation of the journeys, in our experience it is valuable to first discuss the constituents of the Journey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02CE04-681A-4EEF-A4BA-B0BE6EBFD2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952" t="1417" r="8806" b="5842"/>
          <a:stretch/>
        </p:blipFill>
        <p:spPr>
          <a:xfrm>
            <a:off x="379634" y="5282065"/>
            <a:ext cx="2957137" cy="119493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8863E9F-875E-4A5C-8AEA-81A54C9886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34" y="3879787"/>
            <a:ext cx="2280502" cy="127081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2" name="Picture 11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D0EF9D72-D2CC-4A1A-95F4-0B551269B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532" y="1954170"/>
            <a:ext cx="418005" cy="418005"/>
          </a:xfrm>
          <a:prstGeom prst="rect">
            <a:avLst/>
          </a:prstGeom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1EB5DA-2A38-472B-8ADF-BFF40D839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532" y="2445909"/>
            <a:ext cx="418005" cy="418005"/>
          </a:xfrm>
          <a:prstGeom prst="rect">
            <a:avLst/>
          </a:prstGeom>
        </p:spPr>
      </p:pic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88A6B8C1-865E-4658-8365-AD53D225C6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726" y="1954170"/>
            <a:ext cx="418005" cy="4180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76A990-2978-4A0F-AFF1-8E59289505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26" y="2445909"/>
            <a:ext cx="418005" cy="41800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0727590-9454-4C89-B7B5-4674C87606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440" y="2987738"/>
            <a:ext cx="983328" cy="77689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AB110A-470F-485C-9A5E-0F552A3408C6}"/>
              </a:ext>
            </a:extLst>
          </p:cNvPr>
          <p:cNvSpPr txBox="1"/>
          <p:nvPr/>
        </p:nvSpPr>
        <p:spPr>
          <a:xfrm>
            <a:off x="1369884" y="2260483"/>
            <a:ext cx="1432589" cy="31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Segment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9518C3-A9D7-4784-AB78-6820C08D3001}"/>
              </a:ext>
            </a:extLst>
          </p:cNvPr>
          <p:cNvSpPr txBox="1"/>
          <p:nvPr/>
        </p:nvSpPr>
        <p:spPr>
          <a:xfrm>
            <a:off x="1519885" y="315184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Behavioural Resear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03A7B-35EA-460C-974C-36263B9AE30A}"/>
              </a:ext>
            </a:extLst>
          </p:cNvPr>
          <p:cNvSpPr txBox="1"/>
          <p:nvPr/>
        </p:nvSpPr>
        <p:spPr>
          <a:xfrm>
            <a:off x="2802917" y="4379611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Adoption Lad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22F910-EF63-43EA-BB20-AB1F25E1D127}"/>
              </a:ext>
            </a:extLst>
          </p:cNvPr>
          <p:cNvSpPr txBox="1"/>
          <p:nvPr/>
        </p:nvSpPr>
        <p:spPr>
          <a:xfrm>
            <a:off x="3471586" y="5769917"/>
            <a:ext cx="1432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Content &amp; Channels</a:t>
            </a:r>
          </a:p>
        </p:txBody>
      </p:sp>
      <p:sp>
        <p:nvSpPr>
          <p:cNvPr id="20" name="Plus Sign 19">
            <a:extLst>
              <a:ext uri="{FF2B5EF4-FFF2-40B4-BE49-F238E27FC236}">
                <a16:creationId xmlns:a16="http://schemas.microsoft.com/office/drawing/2014/main" id="{92956D50-6992-4AB7-988A-A71362AC1A42}"/>
              </a:ext>
            </a:extLst>
          </p:cNvPr>
          <p:cNvSpPr/>
          <p:nvPr/>
        </p:nvSpPr>
        <p:spPr bwMode="auto">
          <a:xfrm>
            <a:off x="4710110" y="3204930"/>
            <a:ext cx="826225" cy="867983"/>
          </a:xfrm>
          <a:prstGeom prst="mathPlus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84409-2604-4F13-9C41-EA4D7AC1AE35}"/>
              </a:ext>
            </a:extLst>
          </p:cNvPr>
          <p:cNvSpPr txBox="1"/>
          <p:nvPr/>
        </p:nvSpPr>
        <p:spPr>
          <a:xfrm>
            <a:off x="6156679" y="1797125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tx2"/>
                </a:solidFill>
              </a:rPr>
              <a:t>Journey Scenario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EDC07D-51D5-4337-B866-0CC0A69A1C32}"/>
              </a:ext>
            </a:extLst>
          </p:cNvPr>
          <p:cNvSpPr txBox="1"/>
          <p:nvPr/>
        </p:nvSpPr>
        <p:spPr>
          <a:xfrm>
            <a:off x="6129559" y="3801297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tx2"/>
                </a:solidFill>
              </a:rPr>
              <a:t>Key ev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EF90F7-9D6D-4885-BE6A-9B2DF4E87A44}"/>
              </a:ext>
            </a:extLst>
          </p:cNvPr>
          <p:cNvSpPr txBox="1"/>
          <p:nvPr/>
        </p:nvSpPr>
        <p:spPr>
          <a:xfrm>
            <a:off x="6156679" y="5692615"/>
            <a:ext cx="15758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tx2"/>
                </a:solidFill>
              </a:rPr>
              <a:t>“Moments of Truth”</a:t>
            </a:r>
          </a:p>
        </p:txBody>
      </p:sp>
      <p:sp>
        <p:nvSpPr>
          <p:cNvPr id="26" name="Equals 25">
            <a:extLst>
              <a:ext uri="{FF2B5EF4-FFF2-40B4-BE49-F238E27FC236}">
                <a16:creationId xmlns:a16="http://schemas.microsoft.com/office/drawing/2014/main" id="{CD9BD04D-1FCC-4680-BBD6-3AD7D47C559F}"/>
              </a:ext>
            </a:extLst>
          </p:cNvPr>
          <p:cNvSpPr/>
          <p:nvPr/>
        </p:nvSpPr>
        <p:spPr bwMode="auto">
          <a:xfrm>
            <a:off x="8421283" y="3411743"/>
            <a:ext cx="1017282" cy="555949"/>
          </a:xfrm>
          <a:prstGeom prst="mathEqual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27" name="Picture 2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80D73945-F3FB-496B-B6C5-2A24795A63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1894" y="3204930"/>
            <a:ext cx="2321724" cy="148779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F4E75E4-6AE1-401C-8C73-CB4EB2076EB2}"/>
              </a:ext>
            </a:extLst>
          </p:cNvPr>
          <p:cNvSpPr txBox="1"/>
          <p:nvPr/>
        </p:nvSpPr>
        <p:spPr>
          <a:xfrm>
            <a:off x="9884832" y="2863392"/>
            <a:ext cx="1575848" cy="28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tx2"/>
                </a:solidFill>
              </a:rPr>
              <a:t>HCP Journeys</a:t>
            </a:r>
          </a:p>
        </p:txBody>
      </p:sp>
      <p:pic>
        <p:nvPicPr>
          <p:cNvPr id="29" name="Picture 28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AA4F710-2B3F-486C-85A7-DBDA5422E10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5933528" y="4098277"/>
            <a:ext cx="1967908" cy="1257082"/>
          </a:xfrm>
          <a:prstGeom prst="rect">
            <a:avLst/>
          </a:prstGeom>
        </p:spPr>
      </p:pic>
      <p:pic>
        <p:nvPicPr>
          <p:cNvPr id="31" name="Picture 30" descr="A group of people on a stage&#10;&#10;Description automatically generated with low confidence">
            <a:extLst>
              <a:ext uri="{FF2B5EF4-FFF2-40B4-BE49-F238E27FC236}">
                <a16:creationId xmlns:a16="http://schemas.microsoft.com/office/drawing/2014/main" id="{E34B8186-3CBC-4355-BC2E-80EB4434092A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49" t="70681" r="4518"/>
          <a:stretch/>
        </p:blipFill>
        <p:spPr>
          <a:xfrm>
            <a:off x="6075780" y="2175126"/>
            <a:ext cx="1784897" cy="134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78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HCP Journey Scenario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F285E-1361-4421-8B6D-7D3A1B4C56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42809" y="857250"/>
            <a:ext cx="9564166" cy="914400"/>
          </a:xfrm>
        </p:spPr>
        <p:txBody>
          <a:bodyPr/>
          <a:lstStyle/>
          <a:p>
            <a:pPr marL="0" indent="0">
              <a:buNone/>
            </a:pPr>
            <a:r>
              <a:rPr lang="en-GB" sz="2000" b="1">
                <a:solidFill>
                  <a:schemeClr val="bg2"/>
                </a:solidFill>
              </a:rPr>
              <a:t>We can create HCP Journeys based on different categories or </a:t>
            </a:r>
            <a:r>
              <a:rPr lang="en-GB" sz="2000" b="1" i="1">
                <a:solidFill>
                  <a:schemeClr val="bg2"/>
                </a:solidFill>
              </a:rPr>
              <a:t>Scenarios, for example:</a:t>
            </a:r>
          </a:p>
        </p:txBody>
      </p:sp>
      <p:sp>
        <p:nvSpPr>
          <p:cNvPr id="29" name="Round Single Corner Rectangle 1">
            <a:extLst>
              <a:ext uri="{FF2B5EF4-FFF2-40B4-BE49-F238E27FC236}">
                <a16:creationId xmlns:a16="http://schemas.microsoft.com/office/drawing/2014/main" id="{E8CC11C8-CCFB-49BC-9E57-55571375C5BF}"/>
              </a:ext>
            </a:extLst>
          </p:cNvPr>
          <p:cNvSpPr/>
          <p:nvPr/>
        </p:nvSpPr>
        <p:spPr>
          <a:xfrm flipH="1">
            <a:off x="2172916" y="2413480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Field-Driven</a:t>
            </a:r>
          </a:p>
        </p:txBody>
      </p:sp>
      <p:sp>
        <p:nvSpPr>
          <p:cNvPr id="30" name="Round Single Corner Rectangle 1">
            <a:extLst>
              <a:ext uri="{FF2B5EF4-FFF2-40B4-BE49-F238E27FC236}">
                <a16:creationId xmlns:a16="http://schemas.microsoft.com/office/drawing/2014/main" id="{06A31EF5-4483-40ED-BABF-2A850A9D0C14}"/>
              </a:ext>
            </a:extLst>
          </p:cNvPr>
          <p:cNvSpPr/>
          <p:nvPr/>
        </p:nvSpPr>
        <p:spPr>
          <a:xfrm flipH="1">
            <a:off x="4583010" y="2413484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HCP-Driven</a:t>
            </a:r>
          </a:p>
        </p:txBody>
      </p:sp>
      <p:sp>
        <p:nvSpPr>
          <p:cNvPr id="31" name="Round Single Corner Rectangle 1">
            <a:extLst>
              <a:ext uri="{FF2B5EF4-FFF2-40B4-BE49-F238E27FC236}">
                <a16:creationId xmlns:a16="http://schemas.microsoft.com/office/drawing/2014/main" id="{216FEA9B-D653-40EF-9189-3B54DF33124D}"/>
              </a:ext>
            </a:extLst>
          </p:cNvPr>
          <p:cNvSpPr/>
          <p:nvPr/>
        </p:nvSpPr>
        <p:spPr>
          <a:xfrm flipH="1">
            <a:off x="6993104" y="2413483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Event-Driven</a:t>
            </a:r>
          </a:p>
        </p:txBody>
      </p:sp>
      <p:pic>
        <p:nvPicPr>
          <p:cNvPr id="32" name="Picture 31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26F32E38-332F-47D3-82EF-016DEC51D5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" t="53710" r="74297" b="8871"/>
          <a:stretch/>
        </p:blipFill>
        <p:spPr>
          <a:xfrm>
            <a:off x="2206873" y="3389421"/>
            <a:ext cx="2188491" cy="1357486"/>
          </a:xfrm>
          <a:prstGeom prst="rect">
            <a:avLst/>
          </a:prstGeom>
        </p:spPr>
      </p:pic>
      <p:pic>
        <p:nvPicPr>
          <p:cNvPr id="33" name="Picture 32" descr="A picture containing wall, skiing, different, various&#10;&#10;Description automatically generated">
            <a:extLst>
              <a:ext uri="{FF2B5EF4-FFF2-40B4-BE49-F238E27FC236}">
                <a16:creationId xmlns:a16="http://schemas.microsoft.com/office/drawing/2014/main" id="{A847BA4D-1125-4C5F-A358-7FCDFF32C9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68" t="73750" r="35678" b="6591"/>
          <a:stretch/>
        </p:blipFill>
        <p:spPr>
          <a:xfrm>
            <a:off x="4470721" y="3616600"/>
            <a:ext cx="2326057" cy="1137094"/>
          </a:xfrm>
          <a:prstGeom prst="rect">
            <a:avLst/>
          </a:prstGeom>
        </p:spPr>
      </p:pic>
      <p:pic>
        <p:nvPicPr>
          <p:cNvPr id="34" name="Picture 33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27B860CC-CFCC-42B5-8AF4-CC96A75601C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6938426" y="3399542"/>
            <a:ext cx="2243169" cy="14329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14ACC-77DD-43CB-81B0-518F2CC54D9F}"/>
              </a:ext>
            </a:extLst>
          </p:cNvPr>
          <p:cNvSpPr txBox="1"/>
          <p:nvPr/>
        </p:nvSpPr>
        <p:spPr>
          <a:xfrm>
            <a:off x="4749935" y="4800540"/>
            <a:ext cx="218849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Multiple segmentation dimensions – priority, medical, commercial…</a:t>
            </a:r>
          </a:p>
          <a:p>
            <a:endParaRPr lang="en-GB" sz="105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2B5110-20E2-4202-8BB1-E4DDC9B6723E}"/>
              </a:ext>
            </a:extLst>
          </p:cNvPr>
          <p:cNvSpPr txBox="1"/>
          <p:nvPr/>
        </p:nvSpPr>
        <p:spPr>
          <a:xfrm>
            <a:off x="5105260" y="5990858"/>
            <a:ext cx="526133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Flexible in how the targets are</a:t>
            </a:r>
          </a:p>
          <a:p>
            <a:r>
              <a:rPr lang="en-GB" sz="1050"/>
              <a:t>Designed for the ‘core’ prescription target audience of </a:t>
            </a:r>
            <a:r>
              <a:rPr lang="en-GB" sz="1050" err="1"/>
              <a:t>Gis</a:t>
            </a:r>
            <a:endParaRPr lang="en-GB" sz="1050"/>
          </a:p>
          <a:p>
            <a:endParaRPr lang="en-GB" sz="105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18C2E6-B9AE-4834-A9C4-E4ED9E511848}"/>
              </a:ext>
            </a:extLst>
          </p:cNvPr>
          <p:cNvSpPr txBox="1"/>
          <p:nvPr/>
        </p:nvSpPr>
        <p:spPr>
          <a:xfrm>
            <a:off x="2184759" y="4708546"/>
            <a:ext cx="2188491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Rep and Medical journeys will be different, but they will work alongside each other.</a:t>
            </a:r>
          </a:p>
          <a:p>
            <a:r>
              <a:rPr lang="en-GB" sz="1050"/>
              <a:t>(Medical have knowledge ladder)</a:t>
            </a:r>
          </a:p>
          <a:p>
            <a:endParaRPr lang="en-GB" sz="1050"/>
          </a:p>
          <a:p>
            <a:r>
              <a:rPr lang="en-GB" sz="1050"/>
              <a:t>Rep journeys – </a:t>
            </a:r>
            <a:r>
              <a:rPr lang="en-GB" sz="1050" b="1"/>
              <a:t>adoption ladder focused – </a:t>
            </a:r>
            <a:r>
              <a:rPr lang="en-GB" sz="1050"/>
              <a:t>route to Rx.</a:t>
            </a:r>
            <a:endParaRPr lang="en-GB" sz="1050" b="1"/>
          </a:p>
        </p:txBody>
      </p:sp>
    </p:spTree>
    <p:extLst>
      <p:ext uri="{BB962C8B-B14F-4D97-AF65-F5344CB8AC3E}">
        <p14:creationId xmlns:p14="http://schemas.microsoft.com/office/powerpoint/2010/main" val="3435418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26C2B-F0CF-4943-BCB7-441225A6B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are we building the journeys for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585D11-A36F-4E5F-9370-0E29C477B75F}"/>
              </a:ext>
            </a:extLst>
          </p:cNvPr>
          <p:cNvSpPr/>
          <p:nvPr/>
        </p:nvSpPr>
        <p:spPr bwMode="auto">
          <a:xfrm>
            <a:off x="804890" y="3447552"/>
            <a:ext cx="6887381" cy="28495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/>
            <a:r>
              <a:rPr lang="en-US" sz="1600" b="1" u="sng">
                <a:solidFill>
                  <a:schemeClr val="tx2"/>
                </a:solidFill>
                <a:latin typeface="Arial" panose="020B0604020202020204" pitchFamily="34" charset="0"/>
              </a:rPr>
              <a:t>Notes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</a:rPr>
              <a:t>Market shaping is a key focus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</a:rPr>
              <a:t>Post launch, +3-6 months to get things moving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2"/>
                </a:solidFill>
                <a:latin typeface="Arial" panose="020B0604020202020204" pitchFamily="34" charset="0"/>
              </a:rPr>
              <a:t>Launch -6 </a:t>
            </a:r>
            <a:r>
              <a:rPr lang="en-US" sz="1600" b="1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 Launch +6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(don’t have an unbranded adoption ladder, making this difficult to measure)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Post-approval/Pre-reimbursement to discuss JAK1 (stage 2)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The Scenarios apply, however different importance… </a:t>
            </a:r>
            <a:r>
              <a:rPr lang="en-US" sz="1600" err="1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eg</a:t>
            </a: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event driven is more important during market shaping.</a:t>
            </a:r>
            <a:endParaRPr lang="en-US" sz="12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F72D5B-1C3C-4595-B168-6FB556449C02}"/>
              </a:ext>
            </a:extLst>
          </p:cNvPr>
          <p:cNvSpPr/>
          <p:nvPr/>
        </p:nvSpPr>
        <p:spPr bwMode="auto">
          <a:xfrm>
            <a:off x="804891" y="1300899"/>
            <a:ext cx="6887381" cy="189478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57200" marR="0" indent="-4572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Pre Launch </a:t>
            </a:r>
            <a:r>
              <a:rPr kumimoji="0" lang="en-GB" sz="2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Unbranded/Medical            </a:t>
            </a:r>
            <a:r>
              <a:rPr kumimoji="0" lang="en-GB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(Market Shaping)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  <a:p>
            <a:pPr marL="457200" marR="0" indent="-4572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endParaRPr kumimoji="0" lang="en-GB" sz="105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  <a:p>
            <a:pPr marL="457200" marR="0" indent="-4572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GB" sz="2400" b="1">
                <a:solidFill>
                  <a:schemeClr val="accent1"/>
                </a:solidFill>
                <a:latin typeface="Tahoma" pitchFamily="-107" charset="0"/>
              </a:rPr>
              <a:t>Post Launch</a:t>
            </a:r>
            <a:r>
              <a:rPr lang="en-GB" sz="2400">
                <a:solidFill>
                  <a:schemeClr val="bg1"/>
                </a:solidFill>
                <a:latin typeface="Tahoma" pitchFamily="-107" charset="0"/>
              </a:rPr>
              <a:t>  </a:t>
            </a:r>
            <a:r>
              <a:rPr kumimoji="0" lang="en-GB" sz="2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Branded 1-5</a:t>
            </a:r>
          </a:p>
        </p:txBody>
      </p:sp>
      <p:pic>
        <p:nvPicPr>
          <p:cNvPr id="9" name="Graphic 8" descr="Question Mark with solid fill">
            <a:extLst>
              <a:ext uri="{FF2B5EF4-FFF2-40B4-BE49-F238E27FC236}">
                <a16:creationId xmlns:a16="http://schemas.microsoft.com/office/drawing/2014/main" id="{81111DA5-9726-4CD7-8C5D-54D59BC68A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72573" y="2166293"/>
            <a:ext cx="2732202" cy="273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06122"/>
      </p:ext>
    </p:extLst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1F1BB10-53FA-4AC4-9793-DB71BB9C9F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E8EC1B5-E866-4D1D-80ED-1243B9C69250}"/>
              </a:ext>
            </a:extLst>
          </p:cNvPr>
          <p:cNvSpPr txBox="1"/>
          <p:nvPr/>
        </p:nvSpPr>
        <p:spPr>
          <a:xfrm>
            <a:off x="3048000" y="49692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>
                <a:solidFill>
                  <a:schemeClr val="bg1"/>
                </a:solidFill>
              </a:rPr>
              <a:t>https://app.sli.do/event/c6aiwblm</a:t>
            </a:r>
          </a:p>
        </p:txBody>
      </p:sp>
    </p:spTree>
    <p:extLst>
      <p:ext uri="{BB962C8B-B14F-4D97-AF65-F5344CB8AC3E}">
        <p14:creationId xmlns:p14="http://schemas.microsoft.com/office/powerpoint/2010/main" val="1943691831"/>
      </p:ext>
    </p:extLst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ich are the </a:t>
            </a:r>
            <a:r>
              <a:rPr lang="en-GB" b="1" u="sng">
                <a:solidFill>
                  <a:schemeClr val="accent1"/>
                </a:solidFill>
              </a:rPr>
              <a:t>Key Events </a:t>
            </a:r>
            <a:r>
              <a:rPr lang="en-GB" b="1">
                <a:solidFill>
                  <a:schemeClr val="accent1"/>
                </a:solidFill>
              </a:rPr>
              <a:t>we want to incorporate  ?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National Launch Event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UEGW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ECCO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World IBD Day (May 19)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Lunch &amp; Learn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Local &amp; International Conference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Masterclass Serie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EFPIA Event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Non-owned PR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Key Congresse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Press Releases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National Gastro Society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Publication of selected manuscripts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 clinical trial p[</a:t>
            </a:r>
            <a:r>
              <a:rPr lang="en-GB" sz="1200" b="1" i="1" err="1">
                <a:solidFill>
                  <a:srgbClr val="00463E"/>
                </a:solidFill>
                <a:latin typeface="Tahoma" panose="020B0604030504040204" pitchFamily="34" charset="0"/>
              </a:rPr>
              <a:t>ortal</a:t>
            </a: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 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200" b="1" i="1">
                <a:solidFill>
                  <a:srgbClr val="00463E"/>
                </a:solidFill>
                <a:latin typeface="Tahoma" panose="020B0604030504040204" pitchFamily="34" charset="0"/>
              </a:rPr>
              <a:t>HPC portal</a:t>
            </a:r>
          </a:p>
          <a:p>
            <a:pPr marL="171450" marR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sz="1200" b="1" i="1">
              <a:solidFill>
                <a:srgbClr val="00463E"/>
              </a:solidFill>
              <a:latin typeface="Tahoma" panose="020B0604030504040204" pitchFamily="34" charset="0"/>
            </a:endParaRPr>
          </a:p>
        </p:txBody>
      </p:sp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3549728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ich are the </a:t>
            </a:r>
            <a:r>
              <a:rPr lang="en-GB" b="1" u="sng">
                <a:solidFill>
                  <a:schemeClr val="accent1"/>
                </a:solidFill>
              </a:rPr>
              <a:t>Milestones </a:t>
            </a:r>
            <a:r>
              <a:rPr lang="en-GB" b="1">
                <a:solidFill>
                  <a:schemeClr val="accent1"/>
                </a:solidFill>
              </a:rPr>
              <a:t>we want to consider ?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/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1st patient </a:t>
            </a:r>
            <a:r>
              <a:rPr lang="fr-FR" sz="1200" b="1" err="1">
                <a:solidFill>
                  <a:srgbClr val="00463E"/>
                </a:solidFill>
                <a:latin typeface="Tahoma" panose="020B0604030504040204" pitchFamily="34" charset="0"/>
              </a:rPr>
              <a:t>identified</a:t>
            </a:r>
            <a:endParaRPr lang="fr-FR" sz="1200" b="1">
              <a:solidFill>
                <a:srgbClr val="00463E"/>
              </a:solidFill>
              <a:latin typeface="Tahoma" panose="020B0604030504040204" pitchFamily="34" charset="0"/>
            </a:endParaRPr>
          </a:p>
          <a:p>
            <a:pPr lvl="0" fontAlgn="base"/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1st prescription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 First positive </a:t>
            </a:r>
            <a:r>
              <a:rPr lang="fr-FR" sz="1200" b="1" err="1">
                <a:solidFill>
                  <a:srgbClr val="00463E"/>
                </a:solidFill>
                <a:latin typeface="Tahoma" panose="020B0604030504040204" pitchFamily="34" charset="0"/>
              </a:rPr>
              <a:t>experience</a:t>
            </a:r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 </a:t>
            </a:r>
            <a:r>
              <a:rPr lang="fr-FR" sz="1200" b="1" err="1">
                <a:solidFill>
                  <a:srgbClr val="00463E"/>
                </a:solidFill>
                <a:latin typeface="Tahoma" panose="020B0604030504040204" pitchFamily="34" charset="0"/>
              </a:rPr>
              <a:t>results</a:t>
            </a:r>
            <a:endParaRPr lang="fr-FR" sz="1200" b="1">
              <a:solidFill>
                <a:srgbClr val="00463E"/>
              </a:solidFill>
              <a:latin typeface="Tahoma" panose="020B0604030504040204" pitchFamily="34" charset="0"/>
            </a:endParaRP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 Hospital pharmacies </a:t>
            </a:r>
            <a:r>
              <a:rPr lang="fr-FR" sz="1200" b="1" err="1">
                <a:solidFill>
                  <a:srgbClr val="00463E"/>
                </a:solidFill>
                <a:latin typeface="Tahoma" panose="020B0604030504040204" pitchFamily="34" charset="0"/>
              </a:rPr>
              <a:t>ordering</a:t>
            </a:r>
            <a:r>
              <a:rPr lang="fr-FR" sz="1200" b="1">
                <a:solidFill>
                  <a:srgbClr val="00463E"/>
                </a:solidFill>
                <a:latin typeface="Tahoma" panose="020B0604030504040204" pitchFamily="34" charset="0"/>
              </a:rPr>
              <a:t> product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endParaRPr lang="en-US" sz="1200" i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823817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ich are the </a:t>
            </a:r>
            <a:r>
              <a:rPr lang="en-GB" b="1" u="sng">
                <a:solidFill>
                  <a:schemeClr val="accent1"/>
                </a:solidFill>
              </a:rPr>
              <a:t>Scenarios</a:t>
            </a:r>
            <a:r>
              <a:rPr lang="en-GB" b="1">
                <a:solidFill>
                  <a:schemeClr val="accent1"/>
                </a:solidFill>
              </a:rPr>
              <a:t> or Journey Categories?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000000"/>
                </a:solidFill>
                <a:latin typeface="Arial" panose="020B0604020202020204" pitchFamily="34" charset="0"/>
              </a:rPr>
              <a:t>Rep-Driven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US" sz="2000" i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000000"/>
                </a:solidFill>
                <a:latin typeface="Arial" panose="020B0604020202020204" pitchFamily="34" charset="0"/>
              </a:rPr>
              <a:t>HCP Driven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US" sz="2000" i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000000"/>
                </a:solidFill>
                <a:latin typeface="Arial" panose="020B0604020202020204" pitchFamily="34" charset="0"/>
              </a:rPr>
              <a:t>Event Driven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US" sz="2000" i="1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fontAlgn="base"/>
            <a:endParaRPr lang="en-US" sz="2000" i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3F6586-B0D5-4F39-A929-8E9F2DB0EF9B}"/>
              </a:ext>
            </a:extLst>
          </p:cNvPr>
          <p:cNvSpPr txBox="1"/>
          <p:nvPr/>
        </p:nvSpPr>
        <p:spPr>
          <a:xfrm>
            <a:off x="3568700" y="5957392"/>
            <a:ext cx="4191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Agree?  Anything other scenarios not included?</a:t>
            </a:r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41267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Introductions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615201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Progress Sharing &amp; Tool Demo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352248"/>
      </p:ext>
    </p:extLst>
  </p:cSld>
  <p:clrMapOvr>
    <a:masterClrMapping/>
  </p:clrMapOvr>
  <p:transition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79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F58800"/>
                </a:solidFill>
                <a:latin typeface="Arial" panose="020B0604020202020204"/>
              </a:rPr>
              <a:t>(1 of 2)</a:t>
            </a: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err="1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from current 2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n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/3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r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JAK inhibitor use to JYSELECA 1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in bio-naive</a:t>
            </a:r>
            <a:endParaRPr kumimoji="0" lang="en-US" sz="900" b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Good options now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New </a:t>
            </a:r>
            <a:r>
              <a:rPr lang="en-GB" sz="900" kern="0" err="1">
                <a:solidFill>
                  <a:srgbClr val="585858"/>
                </a:solidFill>
                <a:latin typeface="+mn-lt"/>
                <a:ea typeface="+mn-ea"/>
                <a:cs typeface="+mn-cs"/>
              </a:rPr>
              <a:t>MoAs</a:t>
            </a: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 are no more effectiv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Convenience is not driving long term remission</a:t>
            </a:r>
            <a:endParaRPr lang="en-US" sz="900" kern="0">
              <a:solidFill>
                <a:srgbClr val="585858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&amp; trial JYSELECA in a patient who would benefit from a new mode of action and reassured by the mucosal healing &amp; histologic remission achiev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a wider pool of patients who are not adequately controlled &amp; use JYSELECA to achieve mucosal healing &amp; long-term resul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xpand usage of JYSELECA as oral, that does not need steroid and provides the depth of sustained remission that they are looking for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>
                <a:solidFill>
                  <a:srgbClr val="00463E"/>
                </a:solidFill>
                <a:latin typeface="+mj-lt"/>
              </a:rPr>
            </a:br>
            <a:r>
              <a:rPr lang="en-US" sz="90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>
                <a:solidFill>
                  <a:srgbClr val="00463E"/>
                </a:solidFill>
              </a:rPr>
              <a:t>Identify</a:t>
            </a:r>
            <a:r>
              <a:rPr lang="en-GB" sz="800" b="1">
                <a:solidFill>
                  <a:srgbClr val="00463E"/>
                </a:solidFill>
              </a:rPr>
              <a:t>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86085695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80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F58800"/>
                </a:solidFill>
                <a:latin typeface="Arial" panose="020B0604020202020204"/>
              </a:rPr>
              <a:t>(2 of 2)</a:t>
            </a: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34448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239616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>
                <a:solidFill>
                  <a:srgbClr val="00463E"/>
                </a:solidFill>
              </a:rPr>
              <a:t>Identify</a:t>
            </a:r>
            <a:r>
              <a:rPr lang="en-GB" sz="800" b="1">
                <a:solidFill>
                  <a:srgbClr val="00463E"/>
                </a:solidFill>
              </a:rPr>
              <a:t>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</a:t>
            </a:r>
            <a:r>
              <a:rPr lang="en-US" sz="90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efficac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1 RTE 1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1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– SF 1 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KOL SELECTION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</a:t>
            </a:r>
            <a:r>
              <a:rPr lang="en-US" sz="90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</a:t>
            </a:r>
            <a:r>
              <a:rPr lang="en-US" sz="90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/safet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2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 SF 2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2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G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 </a:t>
            </a:r>
            <a:r>
              <a:rPr lang="en-US" sz="90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convenience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Patient brochur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 SF 3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Real life patient cas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93514158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F1519-4AA7-274E-9EA3-52A4E4955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Tool – Live Demo</a:t>
            </a:r>
            <a:endParaRPr lang="en-FR"/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635F706D-4ACF-4E31-858F-CD8D1E29AA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638" y="849464"/>
            <a:ext cx="8816742" cy="564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638260"/>
      </p:ext>
    </p:extLst>
  </p:cSld>
  <p:clrMapOvr>
    <a:masterClrMapping/>
  </p:clrMapOvr>
  <p:transition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203167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10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02AF15-6837-44AA-BC76-3C2B5E68696D}"/>
              </a:ext>
            </a:extLst>
          </p:cNvPr>
          <p:cNvSpPr txBox="1"/>
          <p:nvPr/>
        </p:nvSpPr>
        <p:spPr>
          <a:xfrm>
            <a:off x="6096000" y="2842771"/>
            <a:ext cx="5444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ellence is a simple,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-page journey creation tool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with collaboration functiona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e are using Custellence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olely to help guide the creation of HCP Journeys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not for use in the orchestration or execution of journeys.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tool is arranged in ‘lanes’, with bo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6D0374-90BA-434E-9BDB-F8B8030E5B05}"/>
              </a:ext>
            </a:extLst>
          </p:cNvPr>
          <p:cNvSpPr txBox="1"/>
          <p:nvPr/>
        </p:nvSpPr>
        <p:spPr>
          <a:xfrm>
            <a:off x="1314332" y="1405070"/>
            <a:ext cx="2682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oxes can be different siz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2206BB-4303-4CB2-99FD-D597365C85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92118"/>
            <a:ext cx="12192000" cy="40566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708271-59E1-463A-8F7A-AD20C89A4908}"/>
              </a:ext>
            </a:extLst>
          </p:cNvPr>
          <p:cNvSpPr txBox="1"/>
          <p:nvPr/>
        </p:nvSpPr>
        <p:spPr>
          <a:xfrm>
            <a:off x="7041298" y="1371758"/>
            <a:ext cx="29504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fferent types of boxes can be added to the lane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BB27B4D-D854-4562-AE7F-22A233647293}"/>
              </a:ext>
            </a:extLst>
          </p:cNvPr>
          <p:cNvSpPr/>
          <p:nvPr/>
        </p:nvSpPr>
        <p:spPr bwMode="auto">
          <a:xfrm rot="5024821">
            <a:off x="2284174" y="2277009"/>
            <a:ext cx="882501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704D9E1-8B76-42B4-AAFA-8AF3DCEE2FD8}"/>
              </a:ext>
            </a:extLst>
          </p:cNvPr>
          <p:cNvSpPr/>
          <p:nvPr/>
        </p:nvSpPr>
        <p:spPr bwMode="auto">
          <a:xfrm rot="6175214">
            <a:off x="6535845" y="3275544"/>
            <a:ext cx="2544725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A91016-D3C9-4DB0-B6A7-640DCDDC45E8}"/>
              </a:ext>
            </a:extLst>
          </p:cNvPr>
          <p:cNvSpPr txBox="1"/>
          <p:nvPr/>
        </p:nvSpPr>
        <p:spPr>
          <a:xfrm>
            <a:off x="4049799" y="1407543"/>
            <a:ext cx="2950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oxes can be assigned different ‘statuses’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57A145EE-C08D-441A-B3E3-02BC9C0143AC}"/>
              </a:ext>
            </a:extLst>
          </p:cNvPr>
          <p:cNvSpPr/>
          <p:nvPr/>
        </p:nvSpPr>
        <p:spPr bwMode="auto">
          <a:xfrm rot="6011494">
            <a:off x="4516955" y="2810777"/>
            <a:ext cx="1590174" cy="30691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224420"/>
      </p:ext>
    </p:extLst>
  </p:cSld>
  <p:clrMapOvr>
    <a:masterClrMapping/>
  </p:clrMapOvr>
  <p:transition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‘Sub-lanes’ can be hidden within a la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890C9B-7CB1-4051-93C6-5313CB76E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5" y="3429000"/>
            <a:ext cx="7541582" cy="30311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6F496B-A08A-4845-BD88-6A04E33A6F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740"/>
          <a:stretch/>
        </p:blipFill>
        <p:spPr>
          <a:xfrm>
            <a:off x="2047875" y="1182443"/>
            <a:ext cx="7541582" cy="2114347"/>
          </a:xfrm>
          <a:prstGeom prst="rect">
            <a:avLst/>
          </a:prstGeom>
        </p:spPr>
      </p:pic>
      <p:sp>
        <p:nvSpPr>
          <p:cNvPr id="7" name="Left Bracket 6">
            <a:extLst>
              <a:ext uri="{FF2B5EF4-FFF2-40B4-BE49-F238E27FC236}">
                <a16:creationId xmlns:a16="http://schemas.microsoft.com/office/drawing/2014/main" id="{FE4BFB32-3E5E-4607-89CB-1E8A171EF55B}"/>
              </a:ext>
            </a:extLst>
          </p:cNvPr>
          <p:cNvSpPr/>
          <p:nvPr/>
        </p:nvSpPr>
        <p:spPr bwMode="auto">
          <a:xfrm>
            <a:off x="1810512" y="3813048"/>
            <a:ext cx="155067" cy="1536192"/>
          </a:xfrm>
          <a:prstGeom prst="leftBracke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5816ED-716F-4F43-85F4-B7EB6BD76E19}"/>
              </a:ext>
            </a:extLst>
          </p:cNvPr>
          <p:cNvSpPr txBox="1"/>
          <p:nvPr/>
        </p:nvSpPr>
        <p:spPr>
          <a:xfrm>
            <a:off x="484251" y="4369007"/>
            <a:ext cx="1563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ditional Lanes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0ACB7D3-49F2-4231-9CC1-38DF1E4B5CB5}"/>
              </a:ext>
            </a:extLst>
          </p:cNvPr>
          <p:cNvCxnSpPr/>
          <p:nvPr/>
        </p:nvCxnSpPr>
        <p:spPr bwMode="auto">
          <a:xfrm>
            <a:off x="1888045" y="1865376"/>
            <a:ext cx="0" cy="28346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514930944"/>
      </p:ext>
    </p:extLst>
  </p:cSld>
  <p:clrMapOvr>
    <a:masterClrMapping/>
  </p:clrMapOvr>
  <p:transition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CCD180-1996-443F-8FAD-22E82F35D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187" y="1914873"/>
            <a:ext cx="2416157" cy="1296987"/>
          </a:xfrm>
        </p:spPr>
        <p:txBody>
          <a:bodyPr/>
          <a:lstStyle/>
          <a:p>
            <a:r>
              <a:rPr lang="en-GB" sz="3200"/>
              <a:t>The Journey Map Templ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E7995C-2E26-4EAB-80DB-91E20A878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6391" y="321630"/>
            <a:ext cx="9184441" cy="58565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9A7C6F-F117-4A1A-99E2-EA9366997087}"/>
              </a:ext>
            </a:extLst>
          </p:cNvPr>
          <p:cNvSpPr txBox="1"/>
          <p:nvPr/>
        </p:nvSpPr>
        <p:spPr>
          <a:xfrm>
            <a:off x="336187" y="5808832"/>
            <a:ext cx="2141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92827809-8DA2-47E6-BE43-1E95334A43EB}"/>
              </a:ext>
            </a:extLst>
          </p:cNvPr>
          <p:cNvSpPr/>
          <p:nvPr/>
        </p:nvSpPr>
        <p:spPr bwMode="auto">
          <a:xfrm>
            <a:off x="1417320" y="5760720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560753"/>
      </p:ext>
    </p:extLst>
  </p:cSld>
  <p:clrMapOvr>
    <a:masterClrMapping/>
  </p:clrMapOvr>
  <p:transition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e have defined different box typ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83362-FB0D-44A1-82D1-04C3DA717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2685" y="2394379"/>
            <a:ext cx="1419225" cy="9429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323DC2-2776-4E6B-9CFF-BEDABC0E05ED}"/>
              </a:ext>
            </a:extLst>
          </p:cNvPr>
          <p:cNvSpPr txBox="1"/>
          <p:nvPr/>
        </p:nvSpPr>
        <p:spPr>
          <a:xfrm>
            <a:off x="912685" y="1372130"/>
            <a:ext cx="48308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annel boxes are arrow-shaped and the type demonstrated by the box icon/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BF50DD-0C17-4339-8E9B-096C40A6F7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8366" y="2408666"/>
            <a:ext cx="1447800" cy="914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62F298A-43A9-4435-BF94-9064D9BCF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698" y="2394379"/>
            <a:ext cx="1400175" cy="91440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5B79475-0469-4C5C-B1FD-F89D67A467F5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 flipH="1">
            <a:off x="2331910" y="2018461"/>
            <a:ext cx="996220" cy="39020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B62919F-E8EC-4BFA-A048-8D499FDBE5AE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3328130" y="2018461"/>
            <a:ext cx="423005" cy="2858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6B0C77B-E57E-44E2-9289-8D9EE3105CC4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3328130" y="2018461"/>
            <a:ext cx="1657441" cy="13037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A2640CED-EA72-4D83-8AE7-D539CC1950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546" y="5004053"/>
            <a:ext cx="1419225" cy="9334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C5326B2-A7ED-4B27-BC31-95FEF874C3C4}"/>
              </a:ext>
            </a:extLst>
          </p:cNvPr>
          <p:cNvSpPr txBox="1"/>
          <p:nvPr/>
        </p:nvSpPr>
        <p:spPr>
          <a:xfrm>
            <a:off x="955546" y="3847151"/>
            <a:ext cx="56738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ther boxes are square and more ‘transparent’, which outlines a </a:t>
            </a:r>
            <a:r>
              <a:rPr kumimoji="0" lang="en-GB" sz="1800" b="1" i="0" u="sng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necting action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such as an email click-through or no clickthrough</a:t>
            </a:r>
          </a:p>
        </p:txBody>
      </p:sp>
    </p:spTree>
    <p:extLst>
      <p:ext uri="{BB962C8B-B14F-4D97-AF65-F5344CB8AC3E}">
        <p14:creationId xmlns:p14="http://schemas.microsoft.com/office/powerpoint/2010/main" val="418550112"/>
      </p:ext>
    </p:extLst>
  </p:cSld>
  <p:clrMapOvr>
    <a:masterClrMapping/>
  </p:clrMapOvr>
  <p:transition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different scenarios will be colour coded by their lan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762C7-21D2-40EA-9BD0-AAE3665BB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4222" y="1789756"/>
            <a:ext cx="9723556" cy="457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256152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40DAA1-3343-DB48-A27E-62670004F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409545"/>
          </a:xfrm>
        </p:spPr>
        <p:txBody>
          <a:bodyPr/>
          <a:lstStyle/>
          <a:p>
            <a:r>
              <a:rPr lang="en-FR"/>
              <a:t>HCP Journey Workshop Agenda</a:t>
            </a:r>
            <a:r>
              <a:rPr lang="en-GB"/>
              <a:t> - IBD</a:t>
            </a:r>
            <a:endParaRPr lang="en-FR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DA8D63F-9C7B-9049-A963-9B83E9891FBA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2156141951"/>
              </p:ext>
            </p:extLst>
          </p:nvPr>
        </p:nvGraphicFramePr>
        <p:xfrm>
          <a:off x="872607" y="1669354"/>
          <a:ext cx="10082438" cy="44028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80207">
                  <a:extLst>
                    <a:ext uri="{9D8B030D-6E8A-4147-A177-3AD203B41FA5}">
                      <a16:colId xmlns:a16="http://schemas.microsoft.com/office/drawing/2014/main" val="3911700310"/>
                    </a:ext>
                  </a:extLst>
                </a:gridCol>
                <a:gridCol w="5531012">
                  <a:extLst>
                    <a:ext uri="{9D8B030D-6E8A-4147-A177-3AD203B41FA5}">
                      <a16:colId xmlns:a16="http://schemas.microsoft.com/office/drawing/2014/main" val="2916309213"/>
                    </a:ext>
                  </a:extLst>
                </a:gridCol>
                <a:gridCol w="1567336">
                  <a:extLst>
                    <a:ext uri="{9D8B030D-6E8A-4147-A177-3AD203B41FA5}">
                      <a16:colId xmlns:a16="http://schemas.microsoft.com/office/drawing/2014/main" val="2936337244"/>
                    </a:ext>
                  </a:extLst>
                </a:gridCol>
                <a:gridCol w="1703883">
                  <a:extLst>
                    <a:ext uri="{9D8B030D-6E8A-4147-A177-3AD203B41FA5}">
                      <a16:colId xmlns:a16="http://schemas.microsoft.com/office/drawing/2014/main" val="4271608421"/>
                    </a:ext>
                  </a:extLst>
                </a:gridCol>
              </a:tblGrid>
              <a:tr h="507779">
                <a:tc>
                  <a:txBody>
                    <a:bodyPr/>
                    <a:lstStyle/>
                    <a:p>
                      <a:r>
                        <a:rPr lang="en-FR"/>
                        <a:t>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/>
                        <a:t>Top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/>
                        <a:t>Facilita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/>
                        <a:t>Forma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5191521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FR" sz="1200"/>
                        <a:t>14:00-14: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Team introduction</a:t>
                      </a:r>
                      <a:r>
                        <a:rPr lang="en-GB" sz="1200"/>
                        <a:t>s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Patrick / Veeva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Roundta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6747310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FR" sz="1200"/>
                        <a:t>14:10-14:</a:t>
                      </a:r>
                      <a:r>
                        <a:rPr lang="en-GB" sz="1200"/>
                        <a:t>2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Project Overview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Patrick / Veeva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Presen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9506158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FR" sz="1200"/>
                        <a:t>14:</a:t>
                      </a:r>
                      <a:r>
                        <a:rPr lang="en-GB" sz="1200"/>
                        <a:t>20</a:t>
                      </a:r>
                      <a:r>
                        <a:rPr lang="en-FR" sz="1200"/>
                        <a:t>-14:</a:t>
                      </a:r>
                      <a:r>
                        <a:rPr lang="en-GB" sz="1200"/>
                        <a:t>35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 b="1"/>
                        <a:t>Working session</a:t>
                      </a:r>
                      <a:r>
                        <a:rPr lang="en-GB" sz="1200" b="1"/>
                        <a:t>:</a:t>
                      </a:r>
                    </a:p>
                    <a:p>
                      <a:r>
                        <a:rPr lang="en-GB" sz="1200"/>
                        <a:t>Journey Framework - Events &amp; Key Moments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Eeva</a:t>
                      </a:r>
                      <a:r>
                        <a:rPr lang="en-GB" sz="1200"/>
                        <a:t> </a:t>
                      </a:r>
                      <a:r>
                        <a:rPr lang="en-FR" sz="1200"/>
                        <a:t>/ Vee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Interactive Session</a:t>
                      </a:r>
                      <a:endParaRPr lang="en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942239"/>
                  </a:ext>
                </a:extLst>
              </a:tr>
              <a:tr h="551019">
                <a:tc>
                  <a:txBody>
                    <a:bodyPr/>
                    <a:lstStyle/>
                    <a:p>
                      <a:r>
                        <a:rPr lang="en-GB" sz="1200"/>
                        <a:t>14:35-14:5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/>
                        <a:t>Progress Sharing &amp; Tool Demo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Veeva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Present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9874738"/>
                  </a:ext>
                </a:extLst>
              </a:tr>
              <a:tr h="805133">
                <a:tc>
                  <a:txBody>
                    <a:bodyPr/>
                    <a:lstStyle/>
                    <a:p>
                      <a:r>
                        <a:rPr lang="en-US" sz="1200"/>
                        <a:t>14</a:t>
                      </a:r>
                      <a:r>
                        <a:rPr lang="en-FR" sz="1200"/>
                        <a:t>:</a:t>
                      </a:r>
                      <a:r>
                        <a:rPr lang="en-GB" sz="1200"/>
                        <a:t>50</a:t>
                      </a:r>
                      <a:r>
                        <a:rPr lang="en-FR" sz="1200"/>
                        <a:t>-</a:t>
                      </a:r>
                      <a:r>
                        <a:rPr lang="en-US" sz="1200"/>
                        <a:t>15</a:t>
                      </a:r>
                      <a:r>
                        <a:rPr lang="en-FR" sz="1200"/>
                        <a:t>:</a:t>
                      </a:r>
                      <a:r>
                        <a:rPr lang="en-GB" sz="1200"/>
                        <a:t>15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 b="1"/>
                        <a:t>Working session</a:t>
                      </a:r>
                      <a:endParaRPr lang="en-GB" sz="1200" b="1"/>
                    </a:p>
                    <a:p>
                      <a:pPr marL="0" indent="0">
                        <a:buFontTx/>
                        <a:buNone/>
                      </a:pPr>
                      <a:r>
                        <a:rPr lang="en-GB" sz="1200" b="1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Review and starting to iterate the international journeys</a:t>
                      </a:r>
                      <a:endParaRPr lang="en-FR" sz="1200" b="1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Gareth/Ale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Breakout Session</a:t>
                      </a:r>
                    </a:p>
                    <a:p>
                      <a:r>
                        <a:rPr lang="en-GB" sz="1200"/>
                        <a:t>G</a:t>
                      </a:r>
                      <a:r>
                        <a:rPr lang="en-FR" sz="1200"/>
                        <a:t>roup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8770851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FR" sz="1200"/>
                        <a:t>15:</a:t>
                      </a:r>
                      <a:r>
                        <a:rPr lang="en-GB" sz="1200"/>
                        <a:t>15</a:t>
                      </a:r>
                      <a:r>
                        <a:rPr lang="en-FR" sz="1200"/>
                        <a:t>-15:</a:t>
                      </a:r>
                      <a:r>
                        <a:rPr lang="en-GB" sz="1200"/>
                        <a:t>25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ebrief &amp; group discussion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FR" sz="1200"/>
                        <a:t>Presentations back to the grou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2407733"/>
                  </a:ext>
                </a:extLst>
              </a:tr>
              <a:tr h="507779">
                <a:tc>
                  <a:txBody>
                    <a:bodyPr/>
                    <a:lstStyle/>
                    <a:p>
                      <a:r>
                        <a:rPr lang="en-FR" sz="1200"/>
                        <a:t>15:</a:t>
                      </a:r>
                      <a:r>
                        <a:rPr lang="en-GB" sz="1200"/>
                        <a:t>25</a:t>
                      </a:r>
                      <a:r>
                        <a:rPr lang="en-FR" sz="1200"/>
                        <a:t>-1</a:t>
                      </a:r>
                      <a:r>
                        <a:rPr lang="en-US" sz="1200"/>
                        <a:t>5</a:t>
                      </a:r>
                      <a:r>
                        <a:rPr lang="en-FR" sz="1200"/>
                        <a:t>:</a:t>
                      </a:r>
                      <a:r>
                        <a:rPr lang="en-US" sz="1200"/>
                        <a:t>30</a:t>
                      </a:r>
                      <a:endParaRPr lang="en-FR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Next ste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FR" sz="1200"/>
                        <a:t>Gareth/Ale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FR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2353536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693AC09-26C6-AE45-BF69-A54CF0CE27C6}"/>
              </a:ext>
            </a:extLst>
          </p:cNvPr>
          <p:cNvSpPr/>
          <p:nvPr/>
        </p:nvSpPr>
        <p:spPr bwMode="auto">
          <a:xfrm>
            <a:off x="729379" y="774733"/>
            <a:ext cx="10819511" cy="75939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</a:t>
            </a:r>
            <a:r>
              <a:rPr kumimoji="0" lang="en-FR" sz="16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tende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FR" sz="14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International team</a:t>
            </a:r>
            <a:r>
              <a:rPr kumimoji="0" lang="en-F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: 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rick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, 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lisa, Deborah, Geert, Alessandra, 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cil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, Camille, Clare, Joha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andre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areth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FR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lex (Veeva)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14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rsida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/</a:t>
            </a:r>
            <a:r>
              <a:rPr kumimoji="0" lang="en-GB" sz="14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njela</a:t>
            </a:r>
            <a:r>
              <a:rPr lang="en-GB" sz="1400" i="1">
                <a:solidFill>
                  <a:srgbClr val="000000"/>
                </a:solidFill>
                <a:latin typeface="Tahoma" pitchFamily="-107" charset="0"/>
              </a:rPr>
              <a:t>/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il</a:t>
            </a:r>
            <a:r>
              <a:rPr lang="en-GB" sz="1400" i="1">
                <a:solidFill>
                  <a:srgbClr val="000000"/>
                </a:solidFill>
                <a:latin typeface="Tahoma" pitchFamily="-107" charset="0"/>
              </a:rPr>
              <a:t>/Veronica (DDB) Alice (</a:t>
            </a:r>
            <a:r>
              <a:rPr lang="en-GB" sz="1400" i="1" err="1">
                <a:solidFill>
                  <a:srgbClr val="000000"/>
                </a:solidFill>
                <a:latin typeface="Tahoma" pitchFamily="-107" charset="0"/>
              </a:rPr>
              <a:t>OpenHealth</a:t>
            </a:r>
            <a:r>
              <a:rPr lang="en-GB" sz="1400" i="1">
                <a:solidFill>
                  <a:srgbClr val="000000"/>
                </a:solidFill>
                <a:latin typeface="Tahoma" pitchFamily="-107" charset="0"/>
              </a:rPr>
              <a:t>)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FR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5743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Adoption stage is highlighted in the top ro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7C53D0-2DB7-448C-8AFA-9B1B956EF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94837"/>
            <a:ext cx="12192000" cy="426316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575168A-FECB-4125-94B8-914594D8DD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586" b="57928"/>
          <a:stretch/>
        </p:blipFill>
        <p:spPr>
          <a:xfrm>
            <a:off x="2141399" y="1295400"/>
            <a:ext cx="6256424" cy="105727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3964A0EE-B94C-4E65-BAE0-87BACB610B67}"/>
              </a:ext>
            </a:extLst>
          </p:cNvPr>
          <p:cNvSpPr/>
          <p:nvPr/>
        </p:nvSpPr>
        <p:spPr bwMode="auto">
          <a:xfrm>
            <a:off x="3541529" y="2476500"/>
            <a:ext cx="527417" cy="847725"/>
          </a:xfrm>
          <a:prstGeom prst="downArrow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22141-AB07-45CA-9AFE-04430557C280}"/>
              </a:ext>
            </a:extLst>
          </p:cNvPr>
          <p:cNvSpPr/>
          <p:nvPr/>
        </p:nvSpPr>
        <p:spPr bwMode="auto">
          <a:xfrm>
            <a:off x="2744770" y="1269732"/>
            <a:ext cx="1108092" cy="1206768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654902"/>
      </p:ext>
    </p:extLst>
  </p:cSld>
  <p:clrMapOvr>
    <a:masterClrMapping/>
  </p:clrMapOvr>
  <p:transition>
    <p:wipe dir="d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38AD-17ED-4994-9CD8-EE5C5157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Additional adoption stage detail is hidden in the sub-la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20063A-3BA8-440B-A3E3-C8DAB7B76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6840" y="1456553"/>
            <a:ext cx="10485160" cy="54014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00C6E9-36B6-4872-9CC6-FDF855348790}"/>
              </a:ext>
            </a:extLst>
          </p:cNvPr>
          <p:cNvSpPr txBox="1"/>
          <p:nvPr/>
        </p:nvSpPr>
        <p:spPr>
          <a:xfrm>
            <a:off x="147191" y="3504544"/>
            <a:ext cx="2141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ub-lanes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CBEF8A9D-068B-414E-BF45-6329C47A92EB}"/>
              </a:ext>
            </a:extLst>
          </p:cNvPr>
          <p:cNvSpPr/>
          <p:nvPr/>
        </p:nvSpPr>
        <p:spPr bwMode="auto">
          <a:xfrm rot="16200000">
            <a:off x="1007324" y="1831154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733893"/>
      </p:ext>
    </p:extLst>
  </p:cSld>
  <p:clrMapOvr>
    <a:masterClrMapping/>
  </p:clrMapOvr>
  <p:transition>
    <p:wipe dir="d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BE1AC-71CE-43A7-8C87-65DA87661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432" y="2527521"/>
            <a:ext cx="4781550" cy="1296987"/>
          </a:xfrm>
        </p:spPr>
        <p:txBody>
          <a:bodyPr/>
          <a:lstStyle/>
          <a:p>
            <a:r>
              <a:rPr lang="en-GB"/>
              <a:t>Details about each touchpoint is also hidden in sub-lan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0E86BA-60F6-42CB-82F2-FF68775FA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548" y="356660"/>
            <a:ext cx="4516297" cy="6144679"/>
          </a:xfrm>
          <a:prstGeom prst="rect">
            <a:avLst/>
          </a:prstGeom>
        </p:spPr>
      </p:pic>
      <p:sp>
        <p:nvSpPr>
          <p:cNvPr id="6" name="Arrow: Down 5">
            <a:extLst>
              <a:ext uri="{FF2B5EF4-FFF2-40B4-BE49-F238E27FC236}">
                <a16:creationId xmlns:a16="http://schemas.microsoft.com/office/drawing/2014/main" id="{E74F0B98-AD45-4DC6-B98C-203DC7A309F0}"/>
              </a:ext>
            </a:extLst>
          </p:cNvPr>
          <p:cNvSpPr/>
          <p:nvPr/>
        </p:nvSpPr>
        <p:spPr bwMode="auto">
          <a:xfrm rot="16200000">
            <a:off x="706032" y="679010"/>
            <a:ext cx="384048" cy="1014984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282091"/>
      </p:ext>
    </p:extLst>
  </p:cSld>
  <p:clrMapOvr>
    <a:masterClrMapping/>
  </p:clrMapOvr>
  <p:transition>
    <p:wipe dir="d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2474913"/>
            <a:ext cx="10048682" cy="17668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sz="3600">
                <a:solidFill>
                  <a:schemeClr val="accent1"/>
                </a:solidFill>
              </a:rPr>
              <a:t>Working Session</a:t>
            </a:r>
            <a:br>
              <a:rPr lang="en-GB" sz="3600" b="1">
                <a:solidFill>
                  <a:schemeClr val="accent1"/>
                </a:solidFill>
              </a:rPr>
            </a:br>
            <a:r>
              <a:rPr lang="en-GB" sz="3200" b="1">
                <a:solidFill>
                  <a:schemeClr val="bg1"/>
                </a:solidFill>
              </a:rPr>
              <a:t>- </a:t>
            </a:r>
            <a:r>
              <a:rPr lang="en-GB" sz="3200" b="1" err="1">
                <a:solidFill>
                  <a:schemeClr val="bg1"/>
                </a:solidFill>
              </a:rPr>
              <a:t>Custellence</a:t>
            </a:r>
            <a:r>
              <a:rPr lang="en-GB" sz="3200" b="1" baseline="30000">
                <a:solidFill>
                  <a:schemeClr val="bg1"/>
                </a:solidFill>
              </a:rPr>
              <a:t>®</a:t>
            </a:r>
            <a:endParaRPr lang="en-FR" kern="0" baseline="30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316264"/>
      </p:ext>
    </p:extLst>
  </p:cSld>
  <p:clrMapOvr>
    <a:masterClrMapping/>
  </p:clrMapOvr>
  <p:transition>
    <p:wipe dir="d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Using Custellence</a:t>
            </a:r>
            <a:r>
              <a:rPr lang="en-GB" sz="2400" b="1" baseline="30000">
                <a:solidFill>
                  <a:schemeClr val="accent1"/>
                </a:solidFill>
              </a:rPr>
              <a:t>®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How can we refine and complete the customer journeys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787010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2449D45-740E-457E-8F14-41EBA0B98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60650"/>
            <a:ext cx="11129246" cy="1296987"/>
          </a:xfrm>
        </p:spPr>
        <p:txBody>
          <a:bodyPr/>
          <a:lstStyle/>
          <a:p>
            <a:r>
              <a:rPr lang="en-GB" sz="2400">
                <a:solidFill>
                  <a:schemeClr val="tx2"/>
                </a:solidFill>
              </a:rPr>
              <a:t>In two groups, we will </a:t>
            </a:r>
            <a:r>
              <a:rPr lang="en-GB" sz="2400"/>
              <a:t>pursue the work on the current Customer Journeys using </a:t>
            </a:r>
            <a:r>
              <a:rPr lang="en-GB" sz="2400" err="1"/>
              <a:t>Custellence</a:t>
            </a:r>
            <a:r>
              <a:rPr lang="en-GB" sz="2400"/>
              <a:t>®</a:t>
            </a:r>
            <a:br>
              <a:rPr lang="en-GB" sz="2400">
                <a:solidFill>
                  <a:schemeClr val="tx2"/>
                </a:solidFill>
              </a:rPr>
            </a:br>
            <a:endParaRPr lang="en-GB" sz="24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F9F2AF1-B524-4B5F-8DB0-29F982131ACF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850796" y="1357612"/>
            <a:ext cx="4555376" cy="3355902"/>
          </a:xfrm>
          <a:solidFill>
            <a:schemeClr val="tx2"/>
          </a:solidFill>
          <a:ln>
            <a:noFill/>
          </a:ln>
        </p:spPr>
        <p:txBody>
          <a:bodyPr anchor="t"/>
          <a:lstStyle/>
          <a:p>
            <a:pPr marL="0" indent="0" algn="ctr">
              <a:buNone/>
            </a:pPr>
            <a:r>
              <a:rPr lang="en-FR" b="1">
                <a:solidFill>
                  <a:schemeClr val="bg1"/>
                </a:solidFill>
              </a:rPr>
              <a:t>Group 1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u="sng">
                <a:solidFill>
                  <a:schemeClr val="bg1"/>
                </a:solidFill>
              </a:rPr>
              <a:t>Patrick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Geert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Clare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Johan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err="1">
                <a:solidFill>
                  <a:schemeClr val="bg1"/>
                </a:solidFill>
              </a:rPr>
              <a:t>Arsida</a:t>
            </a:r>
            <a:endParaRPr lang="en-US" sz="2000">
              <a:solidFill>
                <a:schemeClr val="bg1"/>
              </a:solidFill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Veronica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Natalya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bg1"/>
                </a:solidFill>
              </a:rPr>
              <a:t>Abi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FR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18110F-AFC4-4592-8558-BE689FA4A213}"/>
              </a:ext>
            </a:extLst>
          </p:cNvPr>
          <p:cNvSpPr txBox="1">
            <a:spLocks/>
          </p:cNvSpPr>
          <p:nvPr/>
        </p:nvSpPr>
        <p:spPr bwMode="auto">
          <a:xfrm>
            <a:off x="6636806" y="1357611"/>
            <a:ext cx="4555376" cy="335590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0996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2pPr>
            <a:lvl3pPr marL="1030239" indent="-223827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41381" indent="-231764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1800140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b="1" kern="0">
                <a:solidFill>
                  <a:schemeClr val="bg1"/>
                </a:solidFill>
              </a:rPr>
              <a:t>Group 2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u="sng">
                <a:solidFill>
                  <a:schemeClr val="bg1"/>
                </a:solidFill>
              </a:rPr>
              <a:t>Elisa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bg1"/>
                </a:solidFill>
              </a:rPr>
              <a:t>Deborah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err="1">
                <a:solidFill>
                  <a:schemeClr val="bg1"/>
                </a:solidFill>
              </a:rPr>
              <a:t>Secil</a:t>
            </a:r>
            <a:endParaRPr lang="en-GB" sz="2000">
              <a:solidFill>
                <a:schemeClr val="bg1"/>
              </a:solidFill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bg1"/>
                </a:solidFill>
              </a:rPr>
              <a:t>Camille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bg1"/>
                </a:solidFill>
              </a:rPr>
              <a:t>Neil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err="1">
                <a:solidFill>
                  <a:schemeClr val="bg1"/>
                </a:solidFill>
              </a:rPr>
              <a:t>Anjela</a:t>
            </a:r>
            <a:endParaRPr lang="en-GB" sz="2000">
              <a:solidFill>
                <a:schemeClr val="bg1"/>
              </a:solidFill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bg1"/>
                </a:solidFill>
              </a:rPr>
              <a:t>Alice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bg1"/>
                </a:solidFill>
              </a:rPr>
              <a:t>Nancy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FF73D0-08B1-1F41-962D-E265D79AFE23}"/>
              </a:ext>
            </a:extLst>
          </p:cNvPr>
          <p:cNvSpPr txBox="1"/>
          <p:nvPr/>
        </p:nvSpPr>
        <p:spPr>
          <a:xfrm>
            <a:off x="0" y="4820481"/>
            <a:ext cx="84865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err="1"/>
              <a:t>Veeva</a:t>
            </a:r>
            <a:r>
              <a:rPr lang="fr-FR" sz="1200"/>
              <a:t> </a:t>
            </a:r>
          </a:p>
          <a:p>
            <a:pPr algn="ctr"/>
            <a:r>
              <a:rPr lang="fr-FR" sz="1200"/>
              <a:t>Leads</a:t>
            </a:r>
            <a:endParaRPr lang="en-FR" sz="12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FD4428-51E8-0345-8EDA-4791D7A54666}"/>
              </a:ext>
            </a:extLst>
          </p:cNvPr>
          <p:cNvSpPr/>
          <p:nvPr/>
        </p:nvSpPr>
        <p:spPr bwMode="auto">
          <a:xfrm>
            <a:off x="848655" y="4820481"/>
            <a:ext cx="4557517" cy="46166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Gareth</a:t>
            </a:r>
            <a:endParaRPr kumimoji="0" lang="en-F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31C464-5693-1E49-A490-224228F646D3}"/>
              </a:ext>
            </a:extLst>
          </p:cNvPr>
          <p:cNvSpPr/>
          <p:nvPr/>
        </p:nvSpPr>
        <p:spPr bwMode="auto">
          <a:xfrm>
            <a:off x="6636806" y="4794903"/>
            <a:ext cx="4555376" cy="46166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The </a:t>
            </a:r>
            <a:r>
              <a:rPr kumimoji="0" lang="en-US" sz="20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Alexes</a:t>
            </a:r>
            <a:endParaRPr kumimoji="0" lang="en-FR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350435"/>
      </p:ext>
    </p:extLst>
  </p:cSld>
  <p:clrMapOvr>
    <a:masterClrMapping/>
  </p:clrMapOvr>
  <p:transition>
    <p:wipe dir="d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Debrief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886495"/>
      </p:ext>
    </p:extLst>
  </p:cSld>
  <p:clrMapOvr>
    <a:masterClrMapping/>
  </p:clrMapOvr>
  <p:transition>
    <p:wipe dir="d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Next Steps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741012"/>
      </p:ext>
    </p:extLst>
  </p:cSld>
  <p:clrMapOvr>
    <a:masterClrMapping/>
  </p:clrMapOvr>
  <p:transition>
    <p:wipe dir="d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7860F-D7C9-5A4B-B5CF-EACFC3CCB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llowing Today’s Session</a:t>
            </a:r>
            <a:endParaRPr lang="en-FR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24B61DC-8D57-E341-AADF-DA29275A4EED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34552561"/>
              </p:ext>
            </p:extLst>
          </p:nvPr>
        </p:nvGraphicFramePr>
        <p:xfrm>
          <a:off x="733425" y="1773238"/>
          <a:ext cx="10806111" cy="202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9085">
                  <a:extLst>
                    <a:ext uri="{9D8B030D-6E8A-4147-A177-3AD203B41FA5}">
                      <a16:colId xmlns:a16="http://schemas.microsoft.com/office/drawing/2014/main" val="380737272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val="3994714954"/>
                    </a:ext>
                  </a:extLst>
                </a:gridCol>
                <a:gridCol w="1526856">
                  <a:extLst>
                    <a:ext uri="{9D8B030D-6E8A-4147-A177-3AD203B41FA5}">
                      <a16:colId xmlns:a16="http://schemas.microsoft.com/office/drawing/2014/main" val="7481875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FR"/>
                        <a:t>Actio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Who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When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1702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ontinue build of HCP Journeys following lessons learned &amp; outcomes of today’s session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FR"/>
                        <a:t>Veev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755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view Draft HCP Journeys (combination of virtual meetings &amp; offline review)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Core Team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5579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Provide UC team access to </a:t>
                      </a:r>
                      <a:r>
                        <a:rPr lang="en-US" err="1"/>
                        <a:t>Custellence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Veeva</a:t>
                      </a:r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FR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7419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1056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Appendix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184185"/>
      </p:ext>
    </p:extLst>
  </p:cSld>
  <p:clrMapOvr>
    <a:masterClrMapping/>
  </p:clrMapOvr>
  <p:transition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F5838-B9EB-45F4-9124-C219FD374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orkshop Roles</a:t>
            </a:r>
          </a:p>
        </p:txBody>
      </p:sp>
      <p:pic>
        <p:nvPicPr>
          <p:cNvPr id="5" name="Graphic 4" descr="Alarm clock outline">
            <a:extLst>
              <a:ext uri="{FF2B5EF4-FFF2-40B4-BE49-F238E27FC236}">
                <a16:creationId xmlns:a16="http://schemas.microsoft.com/office/drawing/2014/main" id="{7F544F4B-59E3-44DF-849A-07506181AA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9756" y="1402802"/>
            <a:ext cx="1619915" cy="16199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9BE5A8-F929-47A1-9AC8-08A8E2FC74E7}"/>
              </a:ext>
            </a:extLst>
          </p:cNvPr>
          <p:cNvSpPr txBox="1"/>
          <p:nvPr/>
        </p:nvSpPr>
        <p:spPr>
          <a:xfrm>
            <a:off x="2209671" y="1731146"/>
            <a:ext cx="523869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We are against the clock!</a:t>
            </a:r>
          </a:p>
          <a:p>
            <a:r>
              <a:rPr lang="en-GB" sz="1600"/>
              <a:t>We only have a short amount of time together, lets be focused on having a super-efficient remote session.</a:t>
            </a: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CBF905-F7CD-4C07-8C3E-879577A87746}"/>
              </a:ext>
            </a:extLst>
          </p:cNvPr>
          <p:cNvSpPr txBox="1"/>
          <p:nvPr/>
        </p:nvSpPr>
        <p:spPr>
          <a:xfrm>
            <a:off x="2254061" y="2731462"/>
            <a:ext cx="4447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>
                <a:solidFill>
                  <a:schemeClr val="accent1"/>
                </a:solidFill>
              </a:rPr>
              <a:t>Time-Keeper</a:t>
            </a:r>
            <a:r>
              <a:rPr lang="en-GB" sz="1400"/>
              <a:t>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6743BF-3DA0-4508-8582-6723B0C440BD}"/>
              </a:ext>
            </a:extLst>
          </p:cNvPr>
          <p:cNvSpPr txBox="1"/>
          <p:nvPr/>
        </p:nvSpPr>
        <p:spPr>
          <a:xfrm>
            <a:off x="2209671" y="3938317"/>
            <a:ext cx="523869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chemeClr val="tx2"/>
                </a:solidFill>
              </a:rPr>
              <a:t>Let’s stay on-topic!</a:t>
            </a:r>
          </a:p>
          <a:p>
            <a:r>
              <a:rPr lang="en-GB" sz="1600"/>
              <a:t>Everyone is very busy, and so keeping ‘on topic’ and always working towards the project outputs will be key.</a:t>
            </a:r>
            <a:endParaRPr lang="en-GB" sz="20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10848D-80A1-4FDA-9DEE-B937BC5E72D2}"/>
              </a:ext>
            </a:extLst>
          </p:cNvPr>
          <p:cNvSpPr txBox="1"/>
          <p:nvPr/>
        </p:nvSpPr>
        <p:spPr>
          <a:xfrm>
            <a:off x="2236305" y="4938633"/>
            <a:ext cx="4447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>
                <a:solidFill>
                  <a:schemeClr val="accent1"/>
                </a:solidFill>
              </a:rPr>
              <a:t>‘Rabbit-Hole’ Monitor</a:t>
            </a:r>
            <a:r>
              <a:rPr lang="en-GB" sz="1400"/>
              <a:t>:</a:t>
            </a:r>
          </a:p>
        </p:txBody>
      </p:sp>
      <p:pic>
        <p:nvPicPr>
          <p:cNvPr id="16" name="Graphic 15" descr="Bullseye outline">
            <a:extLst>
              <a:ext uri="{FF2B5EF4-FFF2-40B4-BE49-F238E27FC236}">
                <a16:creationId xmlns:a16="http://schemas.microsoft.com/office/drawing/2014/main" id="{9B6A22F8-9A60-42EC-8A34-A40D599E21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3388" y="3741564"/>
            <a:ext cx="1472650" cy="147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44172"/>
      </p:ext>
    </p:extLst>
  </p:cSld>
  <p:clrMapOvr>
    <a:masterClrMapping/>
  </p:clrMapOvr>
  <p:transition>
    <p:wipe dir="d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QoL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err="1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from current limited 1</a:t>
            </a:r>
            <a:r>
              <a:rPr lang="en-US" sz="900" kern="0" baseline="300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line JAK inhibitor use to JYSELECA as their advanced treatment of choice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72844" y="2933143"/>
            <a:ext cx="10679429" cy="649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Use of steroid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Convenience as one driver for treatment choic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s with some therap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80391" y="3629929"/>
            <a:ext cx="1923188" cy="24261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463E"/>
                </a:solidFill>
                <a:latin typeface="+mj-lt"/>
                <a:cs typeface="Arial" charset="0"/>
              </a:rPr>
              <a:t>Identify &amp; trial JYSELECA to achieve rapid control &amp; symptom relief for a patient who is struggling with their symptoms &amp; burden of treat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k all patients (naïve/ exp) whether they would prefer an oral treatment providing rapid efficacy &amp; the safety profile that the patient nee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oose JYSELECA </a:t>
            </a:r>
            <a:b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90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as standard of care oral after first biologic failure as the most simple &amp; convenient solution for their pati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>
                <a:solidFill>
                  <a:srgbClr val="00463E"/>
                </a:solidFill>
                <a:latin typeface="+mj-lt"/>
              </a:rPr>
            </a:br>
            <a:r>
              <a:rPr lang="en-US" sz="90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3862" y="5954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3652068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>
                <a:solidFill>
                  <a:srgbClr val="00463E"/>
                </a:solidFill>
              </a:rPr>
              <a:t>Focus on rapid symptom relief, </a:t>
            </a:r>
            <a:br>
              <a:rPr lang="en-GB" sz="800">
                <a:solidFill>
                  <a:srgbClr val="00463E"/>
                </a:solidFill>
              </a:rPr>
            </a:br>
            <a:r>
              <a:rPr lang="en-GB" sz="800">
                <a:solidFill>
                  <a:srgbClr val="00463E"/>
                </a:solidFill>
              </a:rPr>
              <a:t>sustained efficacy and </a:t>
            </a:r>
            <a:r>
              <a:rPr lang="en-GB" sz="800" err="1">
                <a:solidFill>
                  <a:srgbClr val="00463E"/>
                </a:solidFill>
              </a:rPr>
              <a:t>QoL</a:t>
            </a:r>
            <a:r>
              <a:rPr lang="en-GB" sz="80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3653896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3650199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err="1">
                <a:solidFill>
                  <a:srgbClr val="00463E"/>
                </a:solidFill>
              </a:rPr>
              <a:t>Jyseleca</a:t>
            </a:r>
            <a:r>
              <a:rPr lang="en-US" sz="80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3661496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Identify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222180" y="84014"/>
            <a:ext cx="1216697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C00000"/>
                </a:solidFill>
                <a:latin typeface="Arial" panose="020B0604020202020204"/>
              </a:rPr>
              <a:t>(1 of 2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D6669CD-718A-4546-A19B-4E27A6BB17D8}"/>
              </a:ext>
            </a:extLst>
          </p:cNvPr>
          <p:cNvSpPr/>
          <p:nvPr/>
        </p:nvSpPr>
        <p:spPr bwMode="auto">
          <a:xfrm>
            <a:off x="1395968" y="6086523"/>
            <a:ext cx="1932115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6086523"/>
            <a:ext cx="192593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6086523"/>
            <a:ext cx="1879442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6086523"/>
            <a:ext cx="189178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4180AA2-2857-4E01-B4B1-F57930F6CCD7}"/>
              </a:ext>
            </a:extLst>
          </p:cNvPr>
          <p:cNvSpPr/>
          <p:nvPr/>
        </p:nvSpPr>
        <p:spPr bwMode="auto">
          <a:xfrm>
            <a:off x="10232796" y="6086523"/>
            <a:ext cx="1850151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8021545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3801847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</a:t>
            </a:r>
            <a:r>
              <a:rPr kumimoji="0" lang="en-GB" sz="800" b="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QoL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82372" y="213563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285460" y="4528860"/>
            <a:ext cx="2685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2130354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>
                <a:solidFill>
                  <a:srgbClr val="00463E"/>
                </a:solidFill>
              </a:rPr>
              <a:t>Focus on rapid symptom relief, </a:t>
            </a:r>
            <a:br>
              <a:rPr lang="en-GB" sz="800">
                <a:solidFill>
                  <a:srgbClr val="00463E"/>
                </a:solidFill>
              </a:rPr>
            </a:br>
            <a:r>
              <a:rPr lang="en-GB" sz="800">
                <a:solidFill>
                  <a:srgbClr val="00463E"/>
                </a:solidFill>
              </a:rPr>
              <a:t>sustained efficacy and </a:t>
            </a:r>
            <a:r>
              <a:rPr lang="en-GB" sz="800" err="1">
                <a:solidFill>
                  <a:srgbClr val="00463E"/>
                </a:solidFill>
              </a:rPr>
              <a:t>QoL</a:t>
            </a:r>
            <a:r>
              <a:rPr lang="en-GB" sz="80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2132182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2128485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err="1">
                <a:solidFill>
                  <a:srgbClr val="00463E"/>
                </a:solidFill>
              </a:rPr>
              <a:t>Jyseleca</a:t>
            </a:r>
            <a:r>
              <a:rPr lang="en-US" sz="80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2139782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Identify potential advocates </a:t>
            </a:r>
            <a:r>
              <a:rPr lang="en-GB" sz="80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222180" y="84014"/>
            <a:ext cx="1216697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C00000"/>
                </a:solidFill>
                <a:latin typeface="Arial" panose="020B0604020202020204"/>
              </a:rPr>
              <a:t>(2 of 2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4564808"/>
            <a:ext cx="192593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- </a:t>
            </a:r>
            <a:r>
              <a:rPr lang="en-GB" sz="900" err="1">
                <a:solidFill>
                  <a:srgbClr val="00463E"/>
                </a:solidFill>
              </a:rPr>
              <a:t>eDA</a:t>
            </a:r>
            <a:r>
              <a:rPr lang="en-GB" sz="900">
                <a:solidFill>
                  <a:srgbClr val="00463E"/>
                </a:solidFill>
              </a:rPr>
              <a:t> efficac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- PF 1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1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1 journal ad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4564808"/>
            <a:ext cx="1879442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- </a:t>
            </a:r>
            <a:r>
              <a:rPr lang="en-GB" sz="900" err="1">
                <a:solidFill>
                  <a:srgbClr val="00463E"/>
                </a:solidFill>
              </a:rPr>
              <a:t>eDA</a:t>
            </a:r>
            <a:r>
              <a:rPr lang="en-GB" sz="900">
                <a:solidFill>
                  <a:srgbClr val="00463E"/>
                </a:solidFill>
              </a:rPr>
              <a:t> convenience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- P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2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- P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atient brochure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4564808"/>
            <a:ext cx="189178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TS – </a:t>
            </a:r>
            <a:r>
              <a:rPr lang="en-GB" sz="900" err="1">
                <a:solidFill>
                  <a:srgbClr val="00463E"/>
                </a:solidFill>
              </a:rPr>
              <a:t>eDA</a:t>
            </a:r>
            <a:r>
              <a:rPr lang="en-GB" sz="900">
                <a:solidFill>
                  <a:srgbClr val="00463E"/>
                </a:solidFill>
              </a:rPr>
              <a:t>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Email – PF 3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– PF 3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a – P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Web –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OA video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MM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Real life patient cas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463E"/>
                </a:solidFill>
              </a:rPr>
              <a:t>Medical affairs activiti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>
              <a:solidFill>
                <a:srgbClr val="00463E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>
              <a:solidFill>
                <a:srgbClr val="0046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872388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924747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.</a:t>
            </a:r>
            <a:endParaRPr lang="en-GB" sz="1100" kern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222180" y="115496"/>
            <a:ext cx="1242377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66CCFF"/>
                </a:solidFill>
                <a:latin typeface="Arial" panose="020B0604020202020204"/>
              </a:rPr>
              <a:t>(1 of 2)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5146EE-94BC-47A5-BA02-91C5512998CE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8E03C21-01E5-4530-A5F1-548AFB23357D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800167D-90A5-4545-835C-9AABEC85C0AF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C2F86C-BAE1-405C-A2E0-ADB8FCA96A3D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8F91DA-26F7-493F-86FA-55F6D67C4258}"/>
              </a:ext>
            </a:extLst>
          </p:cNvPr>
          <p:cNvSpPr/>
          <p:nvPr/>
        </p:nvSpPr>
        <p:spPr bwMode="auto">
          <a:xfrm>
            <a:off x="1360507" y="2078752"/>
            <a:ext cx="1932115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se a cautious step-up</a:t>
            </a:r>
          </a:p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pproach &amp; very rare use of JAK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0DD4D18-F611-4F82-91F3-E324EF9E2C37}"/>
              </a:ext>
            </a:extLst>
          </p:cNvPr>
          <p:cNvSpPr/>
          <p:nvPr/>
        </p:nvSpPr>
        <p:spPr bwMode="auto">
          <a:xfrm>
            <a:off x="1372844" y="2969089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tisfied with current therapie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Anti-TNFs effective &amp; saf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fety concern about Jak Cla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78A705-D2BD-43BB-AB88-CB693A35DF87}"/>
              </a:ext>
            </a:extLst>
          </p:cNvPr>
          <p:cNvSpPr/>
          <p:nvPr/>
        </p:nvSpPr>
        <p:spPr bwMode="auto">
          <a:xfrm>
            <a:off x="1389777" y="3638218"/>
            <a:ext cx="2032814" cy="244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463E"/>
              </a:solidFill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Detailed in 2,3,4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36FD7-F6A4-423B-A455-D4AFA904C5DF}"/>
              </a:ext>
            </a:extLst>
          </p:cNvPr>
          <p:cNvSpPr/>
          <p:nvPr/>
        </p:nvSpPr>
        <p:spPr bwMode="auto">
          <a:xfrm>
            <a:off x="3573437" y="2078752"/>
            <a:ext cx="188561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en to discuss JYSELECA as a safe &amp; simple option in their treatment paradig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14D897-4E28-44DB-B2BC-651B5989D9C7}"/>
              </a:ext>
            </a:extLst>
          </p:cNvPr>
          <p:cNvSpPr/>
          <p:nvPr/>
        </p:nvSpPr>
        <p:spPr bwMode="auto">
          <a:xfrm>
            <a:off x="5781404" y="2094427"/>
            <a:ext cx="187944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al JYSELECA in a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900" kern="0" baseline="3000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line treatment based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 peer-feedback reassuring on the safety profile – develop a case study on this patien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3AC7511-D7E5-436F-A9AA-CA8EA8D5A0AE}"/>
              </a:ext>
            </a:extLst>
          </p:cNvPr>
          <p:cNvSpPr/>
          <p:nvPr/>
        </p:nvSpPr>
        <p:spPr bwMode="auto">
          <a:xfrm>
            <a:off x="7983201" y="2094427"/>
            <a:ext cx="1891780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and use of </a:t>
            </a:r>
            <a:b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YSELECA in 3rd line – tried and tested based on their own experien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F9B15A-B623-4166-9408-29CF24F92AB8}"/>
              </a:ext>
            </a:extLst>
          </p:cNvPr>
          <p:cNvSpPr/>
          <p:nvPr/>
        </p:nvSpPr>
        <p:spPr bwMode="auto">
          <a:xfrm>
            <a:off x="10197335" y="2078752"/>
            <a:ext cx="1850151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art to use JYSELECA as the first option after 1st biologic failure based on the positive feedback they have received from their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33862" y="608652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98283" y="3619766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Benefits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816173" y="3641914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8008046" y="3638217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Convenience Messaging Objective: </a:t>
            </a:r>
            <a:r>
              <a:rPr lang="en-US" sz="80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222180" y="3649514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CEFD19-A6CF-4CC3-AE26-C15DCA24EBEF}"/>
              </a:ext>
            </a:extLst>
          </p:cNvPr>
          <p:cNvSpPr/>
          <p:nvPr/>
        </p:nvSpPr>
        <p:spPr bwMode="auto">
          <a:xfrm>
            <a:off x="1489962" y="6182260"/>
            <a:ext cx="1932115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822332" y="618226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8024129" y="6182260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C01CC87-EF6F-4704-9BC9-8168F3BA514D}"/>
              </a:ext>
            </a:extLst>
          </p:cNvPr>
          <p:cNvSpPr/>
          <p:nvPr/>
        </p:nvSpPr>
        <p:spPr bwMode="auto">
          <a:xfrm>
            <a:off x="10238263" y="6182260"/>
            <a:ext cx="1850151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602526" y="619088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4220654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</a:t>
            </a:r>
            <a:endParaRPr lang="en-GB" sz="1100" kern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204492" y="115496"/>
            <a:ext cx="1260065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  <a:p>
            <a:pPr algn="ctr" defTabSz="912505">
              <a:defRPr/>
            </a:pPr>
            <a:r>
              <a:rPr lang="en-GB" sz="798">
                <a:solidFill>
                  <a:srgbClr val="66CCFF"/>
                </a:solidFill>
                <a:latin typeface="Arial" panose="020B0604020202020204"/>
              </a:rPr>
              <a:t>(2 of 2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24548" y="214766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215655" y="4672691"/>
            <a:ext cx="32228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64421" y="2122062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</a:rPr>
              <a:t>Benefits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782311" y="2144210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Safety Messaging Objective: </a:t>
            </a: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7974184" y="2140513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>
                <a:solidFill>
                  <a:srgbClr val="00463E"/>
                </a:solidFill>
              </a:rPr>
              <a:t>Convenience Messaging Objective: </a:t>
            </a:r>
            <a:r>
              <a:rPr lang="en-US" sz="80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188318" y="2151810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00463E"/>
                </a:solidFill>
              </a:rPr>
              <a:t>Affirm positive experiences </a:t>
            </a:r>
            <a:r>
              <a:rPr lang="en-GB" sz="80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788470" y="4684556"/>
            <a:ext cx="1879442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</a:t>
            </a:r>
            <a:r>
              <a:rPr lang="en-GB" sz="900" err="1">
                <a:solidFill>
                  <a:srgbClr val="000000"/>
                </a:solidFill>
              </a:rPr>
              <a:t>eDA</a:t>
            </a:r>
            <a:r>
              <a:rPr lang="en-GB" sz="900">
                <a:solidFill>
                  <a:srgbClr val="000000"/>
                </a:solidFill>
              </a:rPr>
              <a:t> - safety benefits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 FF 2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cal affairs activiti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Tx/>
              <a:buFont typeface="Arial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7990267" y="4684556"/>
            <a:ext cx="1891780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 - </a:t>
            </a:r>
            <a:r>
              <a:rPr lang="en-GB" sz="900" err="1">
                <a:solidFill>
                  <a:srgbClr val="000000"/>
                </a:solidFill>
              </a:rPr>
              <a:t>eDA</a:t>
            </a:r>
            <a:r>
              <a:rPr lang="en-GB" sz="900">
                <a:solidFill>
                  <a:srgbClr val="000000"/>
                </a:solidFill>
              </a:rPr>
              <a:t> - convenience and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patient brochur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3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3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Conference – Exhibition Booth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cal affairs activiti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568664" y="4693176"/>
            <a:ext cx="1879442" cy="2164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TS - </a:t>
            </a:r>
            <a:r>
              <a:rPr lang="en-GB" sz="900" err="1">
                <a:solidFill>
                  <a:srgbClr val="000000"/>
                </a:solidFill>
              </a:rPr>
              <a:t>eDA</a:t>
            </a:r>
            <a:r>
              <a:rPr lang="en-GB" sz="900">
                <a:solidFill>
                  <a:srgbClr val="000000"/>
                </a:solidFill>
              </a:rPr>
              <a:t> - unmet needs and efficacy/safety benefit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Email - FF 1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1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Media - FF 1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>
                <a:solidFill>
                  <a:srgbClr val="000000"/>
                </a:solidFill>
              </a:rPr>
              <a:t>FAQ Podcast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Conference</a:t>
            </a:r>
            <a:r>
              <a:rPr lang="en-GB" sz="900">
                <a:solidFill>
                  <a:srgbClr val="000000"/>
                </a:solidFill>
                <a:latin typeface="Tahoma"/>
              </a:rPr>
              <a:t> - </a:t>
            </a:r>
            <a:r>
              <a:rPr kumimoji="0" lang="en-GB" sz="9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baseline="0">
                <a:solidFill>
                  <a:srgbClr val="000000"/>
                </a:solidFill>
                <a:latin typeface="Tahoma"/>
              </a:rPr>
              <a:t>Medical affairs activities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84552432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EB8A21-61C4-4424-8EDF-82E5C75B60E4}"/>
              </a:ext>
            </a:extLst>
          </p:cNvPr>
          <p:cNvCxnSpPr>
            <a:cxnSpLocks/>
          </p:cNvCxnSpPr>
          <p:nvPr/>
        </p:nvCxnSpPr>
        <p:spPr bwMode="auto">
          <a:xfrm>
            <a:off x="3821555" y="4741802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248721"/>
            <a:ext cx="10810627" cy="623862"/>
          </a:xfrm>
        </p:spPr>
        <p:txBody>
          <a:bodyPr/>
          <a:lstStyle/>
          <a:p>
            <a:r>
              <a:rPr lang="en-GB" sz="2800"/>
              <a:t>This work would normally require 3 weeks, we offer to streamline to 3 workshops across 2 months</a:t>
            </a:r>
            <a:br>
              <a:rPr lang="en-GB" sz="2800"/>
            </a:br>
            <a:endParaRPr lang="en-GB" sz="2800"/>
          </a:p>
        </p:txBody>
      </p:sp>
      <p:grpSp>
        <p:nvGrpSpPr>
          <p:cNvPr id="38" name="Group 12">
            <a:extLst>
              <a:ext uri="{FF2B5EF4-FFF2-40B4-BE49-F238E27FC236}">
                <a16:creationId xmlns:a16="http://schemas.microsoft.com/office/drawing/2014/main" id="{B65EC913-A578-4D98-A24C-1DC2FC2853F3}"/>
              </a:ext>
            </a:extLst>
          </p:cNvPr>
          <p:cNvGrpSpPr/>
          <p:nvPr/>
        </p:nvGrpSpPr>
        <p:grpSpPr>
          <a:xfrm>
            <a:off x="877681" y="3636485"/>
            <a:ext cx="10142849" cy="1866382"/>
            <a:chOff x="0" y="-1"/>
            <a:chExt cx="7041762" cy="1866382"/>
          </a:xfrm>
        </p:grpSpPr>
        <p:sp>
          <p:nvSpPr>
            <p:cNvPr id="48" name="Shape 6">
              <a:extLst>
                <a:ext uri="{FF2B5EF4-FFF2-40B4-BE49-F238E27FC236}">
                  <a16:creationId xmlns:a16="http://schemas.microsoft.com/office/drawing/2014/main" id="{0B3E56D9-C951-458A-800D-463286BA4FB2}"/>
                </a:ext>
              </a:extLst>
            </p:cNvPr>
            <p:cNvSpPr/>
            <p:nvPr/>
          </p:nvSpPr>
          <p:spPr>
            <a:xfrm flipH="1" flipV="1">
              <a:off x="0" y="933190"/>
              <a:ext cx="7041762" cy="1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49" name="Shape 7">
              <a:extLst>
                <a:ext uri="{FF2B5EF4-FFF2-40B4-BE49-F238E27FC236}">
                  <a16:creationId xmlns:a16="http://schemas.microsoft.com/office/drawing/2014/main" id="{DDEB9719-DBEE-442C-B8D2-BFEAF590654E}"/>
                </a:ext>
              </a:extLst>
            </p:cNvPr>
            <p:cNvSpPr/>
            <p:nvPr/>
          </p:nvSpPr>
          <p:spPr>
            <a:xfrm>
              <a:off x="35208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50" name="Shape 8">
              <a:extLst>
                <a:ext uri="{FF2B5EF4-FFF2-40B4-BE49-F238E27FC236}">
                  <a16:creationId xmlns:a16="http://schemas.microsoft.com/office/drawing/2014/main" id="{59ACFAC1-B07A-497F-A7F3-CBAAD4B2A3D6}"/>
                </a:ext>
              </a:extLst>
            </p:cNvPr>
            <p:cNvSpPr/>
            <p:nvPr/>
          </p:nvSpPr>
          <p:spPr>
            <a:xfrm>
              <a:off x="1977830" y="925269"/>
              <a:ext cx="1" cy="941112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51" name="Shape 9">
              <a:extLst>
                <a:ext uri="{FF2B5EF4-FFF2-40B4-BE49-F238E27FC236}">
                  <a16:creationId xmlns:a16="http://schemas.microsoft.com/office/drawing/2014/main" id="{9294D64F-74C0-4529-94FE-197BFC7BEE5C}"/>
                </a:ext>
              </a:extLst>
            </p:cNvPr>
            <p:cNvSpPr/>
            <p:nvPr/>
          </p:nvSpPr>
          <p:spPr>
            <a:xfrm>
              <a:off x="4347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52" name="Shape 10">
              <a:extLst>
                <a:ext uri="{FF2B5EF4-FFF2-40B4-BE49-F238E27FC236}">
                  <a16:creationId xmlns:a16="http://schemas.microsoft.com/office/drawing/2014/main" id="{AE7A03D9-6BDB-4346-8907-B778F77681CB}"/>
                </a:ext>
              </a:extLst>
            </p:cNvPr>
            <p:cNvSpPr/>
            <p:nvPr/>
          </p:nvSpPr>
          <p:spPr>
            <a:xfrm>
              <a:off x="5063930" y="925269"/>
              <a:ext cx="1" cy="941112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53" name="Shape 11">
              <a:extLst>
                <a:ext uri="{FF2B5EF4-FFF2-40B4-BE49-F238E27FC236}">
                  <a16:creationId xmlns:a16="http://schemas.microsoft.com/office/drawing/2014/main" id="{EACDD455-EE57-4629-8D49-49354AF34869}"/>
                </a:ext>
              </a:extLst>
            </p:cNvPr>
            <p:cNvSpPr/>
            <p:nvPr/>
          </p:nvSpPr>
          <p:spPr>
            <a:xfrm>
              <a:off x="66069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E9DC15B-E16E-4672-90FA-26AE158D394C}"/>
              </a:ext>
            </a:extLst>
          </p:cNvPr>
          <p:cNvSpPr txBox="1"/>
          <p:nvPr/>
        </p:nvSpPr>
        <p:spPr>
          <a:xfrm>
            <a:off x="445297" y="2730002"/>
            <a:ext cx="3025284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 Eng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uring MOC meeting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1h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58800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ther market buy-in for project and define joint objectives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EF6CD20-35E5-4B4D-995E-7CDC46F939F6}"/>
              </a:ext>
            </a:extLst>
          </p:cNvPr>
          <p:cNvSpPr txBox="1"/>
          <p:nvPr/>
        </p:nvSpPr>
        <p:spPr>
          <a:xfrm>
            <a:off x="2363089" y="5016015"/>
            <a:ext cx="3152337" cy="1077218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ffline Pre-Work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1-3 week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F58800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thering of local research, segmentation, strategy, context, content and channel preferences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74D7292-CB02-4434-91DD-75AC26A8772F}"/>
              </a:ext>
            </a:extLst>
          </p:cNvPr>
          <p:cNvSpPr txBox="1"/>
          <p:nvPr/>
        </p:nvSpPr>
        <p:spPr>
          <a:xfrm>
            <a:off x="810228" y="1250116"/>
            <a:ext cx="1049660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engagements are spread over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-4 weeks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and respect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cal agenda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444047-6615-485A-AF2F-106F04E3739A}"/>
              </a:ext>
            </a:extLst>
          </p:cNvPr>
          <p:cNvSpPr txBox="1"/>
          <p:nvPr/>
        </p:nvSpPr>
        <p:spPr>
          <a:xfrm>
            <a:off x="4547574" y="2707720"/>
            <a:ext cx="2803057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1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2h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adoption ladder finalisation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HCP journeys initiation using International journey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E527215-A48A-45A7-8892-3D8F6B9F8481}"/>
              </a:ext>
            </a:extLst>
          </p:cNvPr>
          <p:cNvSpPr txBox="1"/>
          <p:nvPr/>
        </p:nvSpPr>
        <p:spPr>
          <a:xfrm>
            <a:off x="6789212" y="5036777"/>
            <a:ext cx="2803057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2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2h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HCP Journey iteration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D7560B3D-934B-4B79-B948-95801C12681B}"/>
              </a:ext>
            </a:extLst>
          </p:cNvPr>
          <p:cNvSpPr txBox="1"/>
          <p:nvPr/>
        </p:nvSpPr>
        <p:spPr>
          <a:xfrm>
            <a:off x="9009997" y="2878403"/>
            <a:ext cx="2803057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3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2h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finalisa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381618-DD86-4448-A450-E50CEE31E4AD}"/>
              </a:ext>
            </a:extLst>
          </p:cNvPr>
          <p:cNvSpPr txBox="1"/>
          <p:nvPr/>
        </p:nvSpPr>
        <p:spPr>
          <a:xfrm>
            <a:off x="4054504" y="4628931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support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C9EA974-C5DD-4170-808D-F5DDE2CD527D}"/>
              </a:ext>
            </a:extLst>
          </p:cNvPr>
          <p:cNvCxnSpPr>
            <a:cxnSpLocks/>
          </p:cNvCxnSpPr>
          <p:nvPr/>
        </p:nvCxnSpPr>
        <p:spPr bwMode="auto">
          <a:xfrm>
            <a:off x="8266726" y="4751485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FE44AC2-7229-45D3-9D15-F30D2EBC4AD2}"/>
              </a:ext>
            </a:extLst>
          </p:cNvPr>
          <p:cNvSpPr txBox="1"/>
          <p:nvPr/>
        </p:nvSpPr>
        <p:spPr>
          <a:xfrm>
            <a:off x="8499675" y="4638614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support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2849F936-D708-4F4A-B647-342839BF6013}"/>
              </a:ext>
            </a:extLst>
          </p:cNvPr>
          <p:cNvCxnSpPr>
            <a:cxnSpLocks/>
          </p:cNvCxnSpPr>
          <p:nvPr/>
        </p:nvCxnSpPr>
        <p:spPr bwMode="auto">
          <a:xfrm>
            <a:off x="6049524" y="4378531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38A802BF-2C5A-49D2-9A33-657FE416FB9E}"/>
              </a:ext>
            </a:extLst>
          </p:cNvPr>
          <p:cNvSpPr txBox="1"/>
          <p:nvPr/>
        </p:nvSpPr>
        <p:spPr>
          <a:xfrm>
            <a:off x="6282473" y="4265660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support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AD940B13-DAFD-428F-B69F-69C1D7F9DBBA}"/>
              </a:ext>
            </a:extLst>
          </p:cNvPr>
          <p:cNvCxnSpPr>
            <a:cxnSpLocks/>
          </p:cNvCxnSpPr>
          <p:nvPr/>
        </p:nvCxnSpPr>
        <p:spPr bwMode="auto">
          <a:xfrm>
            <a:off x="1613877" y="4349110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354330D6-250C-4B43-8C56-ACCFE49B15DA}"/>
              </a:ext>
            </a:extLst>
          </p:cNvPr>
          <p:cNvSpPr txBox="1"/>
          <p:nvPr/>
        </p:nvSpPr>
        <p:spPr>
          <a:xfrm>
            <a:off x="1846826" y="4236239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sup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976254-491B-42EF-9DCF-E45ABBBEAA3E}"/>
              </a:ext>
            </a:extLst>
          </p:cNvPr>
          <p:cNvSpPr txBox="1"/>
          <p:nvPr/>
        </p:nvSpPr>
        <p:spPr>
          <a:xfrm>
            <a:off x="11079587" y="4083276"/>
            <a:ext cx="9252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Signoff</a:t>
            </a:r>
          </a:p>
        </p:txBody>
      </p:sp>
      <p:pic>
        <p:nvPicPr>
          <p:cNvPr id="6" name="Graphic 5" descr="Tick with solid fill">
            <a:extLst>
              <a:ext uri="{FF2B5EF4-FFF2-40B4-BE49-F238E27FC236}">
                <a16:creationId xmlns:a16="http://schemas.microsoft.com/office/drawing/2014/main" id="{6EB94675-E1D8-5F4D-8E47-6F0B8C5E22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22549" y="2481970"/>
            <a:ext cx="496064" cy="49606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FF1A688-2CC7-44FF-AFBC-1CD2197AC715}"/>
              </a:ext>
            </a:extLst>
          </p:cNvPr>
          <p:cNvSpPr/>
          <p:nvPr/>
        </p:nvSpPr>
        <p:spPr bwMode="auto">
          <a:xfrm>
            <a:off x="2743200" y="1933303"/>
            <a:ext cx="4957506" cy="188241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>
                <a:latin typeface="Tahoma" pitchFamily="-107" charset="0"/>
              </a:rPr>
              <a:t>Suggest to remove – this repeats information from the previous slid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>
                <a:latin typeface="Tahoma" pitchFamily="-107" charset="0"/>
              </a:rPr>
              <a:t>GA: I guess it gives a more detailed view of what the market engagement looks like? We could just cover this within s11 though </a:t>
            </a:r>
            <a:r>
              <a:rPr lang="en-US" err="1">
                <a:latin typeface="Tahoma" pitchFamily="-107" charset="0"/>
              </a:rPr>
              <a:t>tbf</a:t>
            </a:r>
            <a:endParaRPr kumimoji="0" lang="en-GB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993874"/>
      </p:ext>
    </p:extLst>
  </p:cSld>
  <p:clrMapOvr>
    <a:masterClrMapping/>
  </p:clrMapOvr>
  <p:transition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44629B0-FDCE-4F9E-969B-D708474A9EE7}"/>
              </a:ext>
            </a:extLst>
          </p:cNvPr>
          <p:cNvSpPr/>
          <p:nvPr/>
        </p:nvSpPr>
        <p:spPr>
          <a:xfrm>
            <a:off x="510639" y="1426540"/>
            <a:ext cx="3491346" cy="399433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170A8E-27DF-449E-BDF0-CB9C214DB03A}"/>
              </a:ext>
            </a:extLst>
          </p:cNvPr>
          <p:cNvSpPr/>
          <p:nvPr/>
        </p:nvSpPr>
        <p:spPr>
          <a:xfrm>
            <a:off x="510639" y="1426540"/>
            <a:ext cx="3491346" cy="79564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phic 6" descr="Online meeting outline">
            <a:extLst>
              <a:ext uri="{FF2B5EF4-FFF2-40B4-BE49-F238E27FC236}">
                <a16:creationId xmlns:a16="http://schemas.microsoft.com/office/drawing/2014/main" id="{AD8F882D-4F0B-4737-A887-D989A4042F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7820" y="1473460"/>
            <a:ext cx="696129" cy="6961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CFC6B4E-FC06-41D4-B23E-275F9D171005}"/>
              </a:ext>
            </a:extLst>
          </p:cNvPr>
          <p:cNvSpPr txBox="1"/>
          <p:nvPr/>
        </p:nvSpPr>
        <p:spPr>
          <a:xfrm>
            <a:off x="1459394" y="1590693"/>
            <a:ext cx="23173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Virtual workshop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A98F7C-D81A-47F8-A705-0BFCAECDDEDF}"/>
              </a:ext>
            </a:extLst>
          </p:cNvPr>
          <p:cNvSpPr/>
          <p:nvPr/>
        </p:nvSpPr>
        <p:spPr>
          <a:xfrm>
            <a:off x="8307290" y="1384977"/>
            <a:ext cx="3491346" cy="399433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552149-D8F4-4D92-BEBA-5EBB66DCA18F}"/>
              </a:ext>
            </a:extLst>
          </p:cNvPr>
          <p:cNvSpPr/>
          <p:nvPr/>
        </p:nvSpPr>
        <p:spPr>
          <a:xfrm>
            <a:off x="8317439" y="1384977"/>
            <a:ext cx="3491346" cy="79564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A15843-7A2A-4609-B795-832186C99F2F}"/>
              </a:ext>
            </a:extLst>
          </p:cNvPr>
          <p:cNvSpPr txBox="1"/>
          <p:nvPr/>
        </p:nvSpPr>
        <p:spPr>
          <a:xfrm>
            <a:off x="9113359" y="1530225"/>
            <a:ext cx="22515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Break out rooms</a:t>
            </a:r>
          </a:p>
        </p:txBody>
      </p:sp>
      <p:pic>
        <p:nvPicPr>
          <p:cNvPr id="12" name="Graphic 11" descr="Door Open outline">
            <a:extLst>
              <a:ext uri="{FF2B5EF4-FFF2-40B4-BE49-F238E27FC236}">
                <a16:creationId xmlns:a16="http://schemas.microsoft.com/office/drawing/2014/main" id="{9DA8DDEC-608A-4B52-8E08-8C282AC84A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57024" y="1422826"/>
            <a:ext cx="716751" cy="7167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C637580-59C3-43BA-8F96-2595DA8B1E70}"/>
              </a:ext>
            </a:extLst>
          </p:cNvPr>
          <p:cNvSpPr txBox="1"/>
          <p:nvPr/>
        </p:nvSpPr>
        <p:spPr>
          <a:xfrm>
            <a:off x="8400298" y="2311034"/>
            <a:ext cx="333630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/>
              <a:t>For smaller group discussions, we use ‘breakout rooms’. You don’t need to do anything – this will happen automatically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4C88F3-9717-4927-985B-AC6C3EB8E0FF}"/>
              </a:ext>
            </a:extLst>
          </p:cNvPr>
          <p:cNvSpPr/>
          <p:nvPr/>
        </p:nvSpPr>
        <p:spPr>
          <a:xfrm>
            <a:off x="4408964" y="1426540"/>
            <a:ext cx="3491346" cy="399433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0C7DE8-7A42-473A-96AB-65B0AC8AC382}"/>
              </a:ext>
            </a:extLst>
          </p:cNvPr>
          <p:cNvSpPr/>
          <p:nvPr/>
        </p:nvSpPr>
        <p:spPr>
          <a:xfrm>
            <a:off x="4408964" y="1426540"/>
            <a:ext cx="3491346" cy="79564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Graphic 15" descr="Raised hand outline">
            <a:extLst>
              <a:ext uri="{FF2B5EF4-FFF2-40B4-BE49-F238E27FC236}">
                <a16:creationId xmlns:a16="http://schemas.microsoft.com/office/drawing/2014/main" id="{0F050421-F4C8-4696-96B6-5A6DD4F389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28525" y="1524486"/>
            <a:ext cx="599147" cy="59914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E6DE162-1B75-46C5-8D1F-5D17822AB1AF}"/>
              </a:ext>
            </a:extLst>
          </p:cNvPr>
          <p:cNvSpPr txBox="1"/>
          <p:nvPr/>
        </p:nvSpPr>
        <p:spPr>
          <a:xfrm>
            <a:off x="5439907" y="1593228"/>
            <a:ext cx="21886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Non verbal cu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BE3CDF-8578-474E-90C7-4CBAC02FD705}"/>
              </a:ext>
            </a:extLst>
          </p:cNvPr>
          <p:cNvSpPr txBox="1"/>
          <p:nvPr/>
        </p:nvSpPr>
        <p:spPr>
          <a:xfrm>
            <a:off x="4486485" y="2288858"/>
            <a:ext cx="3336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/>
              <a:t>Use ’cues’ to signal how you feel – especially if you have a question or want us to repeat something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22A2ACC-C156-44B3-AB04-4257BE29CB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6485" y="4528645"/>
            <a:ext cx="3209925" cy="56593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72EAB59-BA45-40A7-A472-C515105DBD2B}"/>
              </a:ext>
            </a:extLst>
          </p:cNvPr>
          <p:cNvSpPr txBox="1"/>
          <p:nvPr/>
        </p:nvSpPr>
        <p:spPr>
          <a:xfrm>
            <a:off x="4486484" y="5112107"/>
            <a:ext cx="33363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/>
              <a:t>‘Cues’ are found at the bottom in the ‘Participants’ tab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4200FF1-0CDA-42A1-8C40-D5F0DAD57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 kern="0"/>
              <a:t>Mechanics of zo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4762BA-E4E2-4B9F-B11C-5C4B7437EC53}"/>
              </a:ext>
            </a:extLst>
          </p:cNvPr>
          <p:cNvSpPr txBox="1"/>
          <p:nvPr/>
        </p:nvSpPr>
        <p:spPr>
          <a:xfrm>
            <a:off x="568851" y="2351046"/>
            <a:ext cx="33363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Zoom works much like </a:t>
            </a:r>
            <a:r>
              <a:rPr lang="en-GB" err="1"/>
              <a:t>webex</a:t>
            </a:r>
            <a:r>
              <a:rPr lang="en-GB"/>
              <a:t> or Teams – optimally with video enabled.</a:t>
            </a:r>
          </a:p>
          <a:p>
            <a:endParaRPr lang="en-GB"/>
          </a:p>
          <a:p>
            <a:r>
              <a:rPr lang="en-GB"/>
              <a:t>If you have any problems, ask one of the Veeva team for help.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903236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62DFFE52-DA02-4725-8FD1-E84CDE76ABF2}"/>
              </a:ext>
            </a:extLst>
          </p:cNvPr>
          <p:cNvSpPr txBox="1">
            <a:spLocks/>
          </p:cNvSpPr>
          <p:nvPr/>
        </p:nvSpPr>
        <p:spPr>
          <a:xfrm>
            <a:off x="1071659" y="3021013"/>
            <a:ext cx="10048682" cy="776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ctr"/>
            <a:r>
              <a:rPr lang="en-GB" kern="0">
                <a:solidFill>
                  <a:schemeClr val="accent1"/>
                </a:solidFill>
              </a:rPr>
              <a:t>Project Overview</a:t>
            </a:r>
            <a:endParaRPr lang="en-FR" ker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163770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A30B41A-AB01-4D8C-832D-58AF0988FD45}"/>
              </a:ext>
            </a:extLst>
          </p:cNvPr>
          <p:cNvSpPr/>
          <p:nvPr/>
        </p:nvSpPr>
        <p:spPr bwMode="auto">
          <a:xfrm>
            <a:off x="3177" y="1809593"/>
            <a:ext cx="5845528" cy="359917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What is the HCP Journeys Project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02B9E-E230-47FB-A6FE-35BE071FA1AB}"/>
              </a:ext>
            </a:extLst>
          </p:cNvPr>
          <p:cNvSpPr txBox="1"/>
          <p:nvPr/>
        </p:nvSpPr>
        <p:spPr>
          <a:xfrm>
            <a:off x="362167" y="2135728"/>
            <a:ext cx="4451373" cy="28623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cross functional team is now making strategy a reality, by creating HCP Journeys that bring together existing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ent, OC channel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arch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into maps to guide the rapid movement of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CPs through stages in the adoption ladder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</p:txBody>
      </p:sp>
      <p:pic>
        <p:nvPicPr>
          <p:cNvPr id="9" name="Graphic 8" descr="Workflow with solid fill">
            <a:extLst>
              <a:ext uri="{FF2B5EF4-FFF2-40B4-BE49-F238E27FC236}">
                <a16:creationId xmlns:a16="http://schemas.microsoft.com/office/drawing/2014/main" id="{360C96CA-E312-495A-80EB-A8561477D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5873" y="1904523"/>
            <a:ext cx="755703" cy="755703"/>
          </a:xfrm>
          <a:prstGeom prst="rect">
            <a:avLst/>
          </a:prstGeom>
        </p:spPr>
      </p:pic>
      <p:pic>
        <p:nvPicPr>
          <p:cNvPr id="12" name="Picture 11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897372D1-E36D-4B6B-8037-53078292ED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50"/>
          <a:stretch/>
        </p:blipFill>
        <p:spPr>
          <a:xfrm>
            <a:off x="6645221" y="2089822"/>
            <a:ext cx="5033211" cy="297138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F5E0DA-1C9E-4046-A957-B64D5958B87D}"/>
              </a:ext>
            </a:extLst>
          </p:cNvPr>
          <p:cNvSpPr txBox="1"/>
          <p:nvPr/>
        </p:nvSpPr>
        <p:spPr>
          <a:xfrm>
            <a:off x="7150999" y="5096102"/>
            <a:ext cx="4159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llustrative example</a:t>
            </a:r>
          </a:p>
        </p:txBody>
      </p:sp>
    </p:spTree>
    <p:extLst>
      <p:ext uri="{BB962C8B-B14F-4D97-AF65-F5344CB8AC3E}">
        <p14:creationId xmlns:p14="http://schemas.microsoft.com/office/powerpoint/2010/main" val="29595900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1" y="1183907"/>
            <a:ext cx="5810250" cy="47311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will you get at the end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9EE307-EA92-4A21-A4AA-B9E6F29E31B7}"/>
              </a:ext>
            </a:extLst>
          </p:cNvPr>
          <p:cNvSpPr txBox="1"/>
          <p:nvPr/>
        </p:nvSpPr>
        <p:spPr>
          <a:xfrm>
            <a:off x="539360" y="1494033"/>
            <a:ext cx="5004189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 clear Customer Journey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r your market, for the IBD indicati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linked to driving HCPs up the initial stages in the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at are linked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both existing and currently in production for launc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with easy access to the materials needed for execution (and view on planned conten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 easy-to-us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omer Journey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rma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to enable dynamic updates throughout the year</a:t>
            </a:r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3768AB0A-9864-4D58-A1CE-FD310767B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216" y="159417"/>
            <a:ext cx="914400" cy="914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55AB4A-F31C-4F89-93BF-3043A3463C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5959" y="1670811"/>
            <a:ext cx="6077326" cy="375731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0859223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1955C2-A5D2-4C4F-971D-86DDC218A6A7}"/>
              </a:ext>
            </a:extLst>
          </p:cNvPr>
          <p:cNvSpPr/>
          <p:nvPr/>
        </p:nvSpPr>
        <p:spPr bwMode="auto">
          <a:xfrm>
            <a:off x="852612" y="1757030"/>
            <a:ext cx="2819444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FC5339-2CBA-49DF-98B1-A5480BAA603B}"/>
              </a:ext>
            </a:extLst>
          </p:cNvPr>
          <p:cNvSpPr/>
          <p:nvPr/>
        </p:nvSpPr>
        <p:spPr bwMode="auto">
          <a:xfrm>
            <a:off x="852612" y="1309523"/>
            <a:ext cx="2819444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everage existing Strategy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D6513A-978A-49C2-A561-5B8FB6A83BB7}"/>
              </a:ext>
            </a:extLst>
          </p:cNvPr>
          <p:cNvSpPr txBox="1"/>
          <p:nvPr/>
        </p:nvSpPr>
        <p:spPr>
          <a:xfrm>
            <a:off x="1088350" y="1810751"/>
            <a:ext cx="23525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 | Segmentation Channels | Content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1D6E9CED-0AB6-4DA2-B29B-07455FB44B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251" r="19948"/>
          <a:stretch/>
        </p:blipFill>
        <p:spPr>
          <a:xfrm>
            <a:off x="1602230" y="5020836"/>
            <a:ext cx="1268046" cy="113744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EA6DA388-F266-48E7-B45D-9D1C9FEFD673}"/>
              </a:ext>
            </a:extLst>
          </p:cNvPr>
          <p:cNvSpPr txBox="1"/>
          <p:nvPr/>
        </p:nvSpPr>
        <p:spPr>
          <a:xfrm>
            <a:off x="1119690" y="1047358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rand /  Strate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56606A-820B-4753-B57B-97556E0097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6806" y="2350923"/>
            <a:ext cx="1060336" cy="86311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5328692C-02E8-4BD6-833B-A0F2EAE1F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626042"/>
          </a:xfrm>
        </p:spPr>
        <p:txBody>
          <a:bodyPr/>
          <a:lstStyle/>
          <a:p>
            <a:r>
              <a:rPr lang="en-US" sz="3200"/>
              <a:t>The Approach is Consistent &amp; Cross-Functional</a:t>
            </a:r>
            <a:endParaRPr lang="en-GB" sz="3200"/>
          </a:p>
        </p:txBody>
      </p:sp>
      <p:pic>
        <p:nvPicPr>
          <p:cNvPr id="36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0908C001-4E75-480F-AD02-463B958C453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8500" y="3644521"/>
            <a:ext cx="500747" cy="4893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2C0DD07D-E4AF-4A1E-9999-2D0DC27C7FC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770" y="3644521"/>
            <a:ext cx="500747" cy="489330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8637EE36-066E-4101-A371-0085B02A7F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2173" y="4119803"/>
            <a:ext cx="500747" cy="48933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7418DA3B-64AE-4617-A655-73F090EB9EBE}"/>
              </a:ext>
            </a:extLst>
          </p:cNvPr>
          <p:cNvSpPr txBox="1"/>
          <p:nvPr/>
        </p:nvSpPr>
        <p:spPr>
          <a:xfrm>
            <a:off x="1397000" y="3329310"/>
            <a:ext cx="1556515" cy="255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BD Segment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C5C4B81-13E2-4134-83C3-C3070022ABD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59"/>
          <a:stretch/>
        </p:blipFill>
        <p:spPr>
          <a:xfrm>
            <a:off x="1091763" y="2361782"/>
            <a:ext cx="931800" cy="86311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83CCDBC-52D8-4214-AF43-0DCFD0313806}"/>
              </a:ext>
            </a:extLst>
          </p:cNvPr>
          <p:cNvSpPr/>
          <p:nvPr/>
        </p:nvSpPr>
        <p:spPr bwMode="auto">
          <a:xfrm>
            <a:off x="4311936" y="1754538"/>
            <a:ext cx="2952987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D37493E-1A4C-451E-BC11-DD374C4FB864}"/>
              </a:ext>
            </a:extLst>
          </p:cNvPr>
          <p:cNvSpPr/>
          <p:nvPr/>
        </p:nvSpPr>
        <p:spPr bwMode="auto">
          <a:xfrm>
            <a:off x="4311936" y="1307031"/>
            <a:ext cx="2952987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se it for market clarit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EEDB9B8-2E05-44C6-B5DC-CD0A30A791B3}"/>
              </a:ext>
            </a:extLst>
          </p:cNvPr>
          <p:cNvSpPr txBox="1"/>
          <p:nvPr/>
        </p:nvSpPr>
        <p:spPr>
          <a:xfrm>
            <a:off x="4654036" y="1044866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rand /  Strateg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C99AD5-BC08-4CF7-85FD-BC8D11B0D4E6}"/>
              </a:ext>
            </a:extLst>
          </p:cNvPr>
          <p:cNvSpPr/>
          <p:nvPr/>
        </p:nvSpPr>
        <p:spPr bwMode="auto">
          <a:xfrm>
            <a:off x="7799551" y="1722575"/>
            <a:ext cx="3418350" cy="4512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B8B6674-A76C-44E8-824E-093322DF779E}"/>
              </a:ext>
            </a:extLst>
          </p:cNvPr>
          <p:cNvSpPr/>
          <p:nvPr/>
        </p:nvSpPr>
        <p:spPr bwMode="auto">
          <a:xfrm>
            <a:off x="7799551" y="1275068"/>
            <a:ext cx="3418350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velop the Journeys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69F9B5-525C-4485-A623-EF07F61CFE02}"/>
              </a:ext>
            </a:extLst>
          </p:cNvPr>
          <p:cNvSpPr txBox="1"/>
          <p:nvPr/>
        </p:nvSpPr>
        <p:spPr>
          <a:xfrm>
            <a:off x="8396174" y="1012903"/>
            <a:ext cx="2269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rketing / Medical Ma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E02CF2A6-4866-41BB-872E-DDA32398F40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952" t="1417" r="8806" b="5842"/>
          <a:stretch/>
        </p:blipFill>
        <p:spPr>
          <a:xfrm>
            <a:off x="4438627" y="4803967"/>
            <a:ext cx="2699603" cy="109087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4A6034C4-6E94-42A4-B422-AA9DFD75F686}"/>
              </a:ext>
            </a:extLst>
          </p:cNvPr>
          <p:cNvSpPr txBox="1"/>
          <p:nvPr/>
        </p:nvSpPr>
        <p:spPr>
          <a:xfrm>
            <a:off x="4428532" y="4372465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alignment to segmentation and adoption ladder stag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78FCD2-35BB-416F-A98A-8A907DE387A4}"/>
              </a:ext>
            </a:extLst>
          </p:cNvPr>
          <p:cNvSpPr txBox="1"/>
          <p:nvPr/>
        </p:nvSpPr>
        <p:spPr>
          <a:xfrm>
            <a:off x="4424859" y="2120884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 consolidation &amp; consistent format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EE8DE9-EAEA-4FAB-B904-74DA8E0AD055}"/>
              </a:ext>
            </a:extLst>
          </p:cNvPr>
          <p:cNvSpPr txBox="1"/>
          <p:nvPr/>
        </p:nvSpPr>
        <p:spPr>
          <a:xfrm>
            <a:off x="7943107" y="1811604"/>
            <a:ext cx="3131186" cy="409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execution-focused mapping of the touchpoints with a HCP.</a:t>
            </a: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8B477F0A-763E-4303-90E6-3C488D5C6523}"/>
              </a:ext>
            </a:extLst>
          </p:cNvPr>
          <p:cNvSpPr/>
          <p:nvPr/>
        </p:nvSpPr>
        <p:spPr bwMode="auto">
          <a:xfrm rot="5400000">
            <a:off x="7088273" y="3635422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7DDE100C-F688-441C-B6EE-94F1899884FE}"/>
              </a:ext>
            </a:extLst>
          </p:cNvPr>
          <p:cNvSpPr/>
          <p:nvPr/>
        </p:nvSpPr>
        <p:spPr bwMode="auto">
          <a:xfrm rot="5400000">
            <a:off x="3536237" y="3635422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98" name="Picture 97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9F7997E3-DEE4-4AF6-B070-420E7310C4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492" y="2576872"/>
            <a:ext cx="1814874" cy="1163000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86564B72-8831-4DCC-8875-668A5169EB3E}"/>
              </a:ext>
            </a:extLst>
          </p:cNvPr>
          <p:cNvSpPr txBox="1"/>
          <p:nvPr/>
        </p:nvSpPr>
        <p:spPr>
          <a:xfrm>
            <a:off x="7920272" y="2874631"/>
            <a:ext cx="1318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llustrative Versions</a:t>
            </a:r>
          </a:p>
        </p:txBody>
      </p:sp>
      <p:pic>
        <p:nvPicPr>
          <p:cNvPr id="100" name="Picture 99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2171547-90D9-4B2A-92E0-7F5E11B797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492" y="4661692"/>
            <a:ext cx="1814874" cy="1163000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42D31826-4AF1-47BA-8ED7-CFD3E638377E}"/>
              </a:ext>
            </a:extLst>
          </p:cNvPr>
          <p:cNvSpPr txBox="1"/>
          <p:nvPr/>
        </p:nvSpPr>
        <p:spPr>
          <a:xfrm>
            <a:off x="7920272" y="4988026"/>
            <a:ext cx="1318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ised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xecutable   Versions</a:t>
            </a:r>
          </a:p>
        </p:txBody>
      </p:sp>
      <p:sp>
        <p:nvSpPr>
          <p:cNvPr id="102" name="Isosceles Triangle 101">
            <a:extLst>
              <a:ext uri="{FF2B5EF4-FFF2-40B4-BE49-F238E27FC236}">
                <a16:creationId xmlns:a16="http://schemas.microsoft.com/office/drawing/2014/main" id="{74CE396A-0019-417B-A039-337D8139B556}"/>
              </a:ext>
            </a:extLst>
          </p:cNvPr>
          <p:cNvSpPr/>
          <p:nvPr/>
        </p:nvSpPr>
        <p:spPr bwMode="auto">
          <a:xfrm rot="10800000">
            <a:off x="9761141" y="4060208"/>
            <a:ext cx="950471" cy="31225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466A28-35AD-4841-985A-8BC24638A2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38627" y="2622617"/>
            <a:ext cx="2708779" cy="151123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C7820F-84AF-4A0E-9BDC-8CB6187A82E7}"/>
              </a:ext>
            </a:extLst>
          </p:cNvPr>
          <p:cNvSpPr txBox="1"/>
          <p:nvPr/>
        </p:nvSpPr>
        <p:spPr>
          <a:xfrm>
            <a:off x="8358074" y="6247675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progres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BB0A4C3-E263-470C-BCB7-B5D5D123E82E}"/>
              </a:ext>
            </a:extLst>
          </p:cNvPr>
          <p:cNvSpPr txBox="1"/>
          <p:nvPr/>
        </p:nvSpPr>
        <p:spPr>
          <a:xfrm>
            <a:off x="4576834" y="6278478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 progres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3415292-79C3-478A-9E18-A0102B83B270}"/>
              </a:ext>
            </a:extLst>
          </p:cNvPr>
          <p:cNvSpPr txBox="1"/>
          <p:nvPr/>
        </p:nvSpPr>
        <p:spPr>
          <a:xfrm>
            <a:off x="1053307" y="6278478"/>
            <a:ext cx="23956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lete</a:t>
            </a:r>
          </a:p>
        </p:txBody>
      </p:sp>
      <p:sp>
        <p:nvSpPr>
          <p:cNvPr id="105" name="Isosceles Triangle 104">
            <a:extLst>
              <a:ext uri="{FF2B5EF4-FFF2-40B4-BE49-F238E27FC236}">
                <a16:creationId xmlns:a16="http://schemas.microsoft.com/office/drawing/2014/main" id="{6F12A022-7778-428F-A9ED-F5FA33B7DFD6}"/>
              </a:ext>
            </a:extLst>
          </p:cNvPr>
          <p:cNvSpPr/>
          <p:nvPr/>
        </p:nvSpPr>
        <p:spPr bwMode="auto">
          <a:xfrm rot="10800000">
            <a:off x="8276042" y="4072015"/>
            <a:ext cx="950471" cy="31225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396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43" grpId="0"/>
      <p:bldP spid="51" grpId="0"/>
      <p:bldP spid="42" grpId="0" animBg="1"/>
      <p:bldP spid="46" grpId="0" animBg="1"/>
      <p:bldP spid="62" grpId="0"/>
      <p:bldP spid="70" grpId="0" animBg="1"/>
      <p:bldP spid="71" grpId="0" animBg="1"/>
      <p:bldP spid="78" grpId="0"/>
      <p:bldP spid="9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DECCF1-0163-452A-8E9E-063ED5367B2B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2FBE6C9-EF68-4D8F-A310-1A53317F1451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029216D-089D-492A-96C2-48D8920852C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44</Slides>
  <Notes>1</Notes>
  <HiddenSlides>1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5" baseType="lpstr">
      <vt:lpstr>2_Galapagos_template_Basic</vt:lpstr>
      <vt:lpstr>PowerPoint Presentation</vt:lpstr>
      <vt:lpstr>PowerPoint Presentation</vt:lpstr>
      <vt:lpstr>HCP Journey Workshop Agenda - IBD</vt:lpstr>
      <vt:lpstr>Workshop Roles</vt:lpstr>
      <vt:lpstr>Mechanics of zoom</vt:lpstr>
      <vt:lpstr>PowerPoint Presentation</vt:lpstr>
      <vt:lpstr>What is the HCP Journeys Project?</vt:lpstr>
      <vt:lpstr>What will you get at the end?</vt:lpstr>
      <vt:lpstr>The Approach is Consistent &amp; Cross-Functional</vt:lpstr>
      <vt:lpstr>How we are making this a reality</vt:lpstr>
      <vt:lpstr>PowerPoint Presentation</vt:lpstr>
      <vt:lpstr>PowerPoint Presentation</vt:lpstr>
      <vt:lpstr>HCP Journey Components</vt:lpstr>
      <vt:lpstr>HCP Journey Scenarios</vt:lpstr>
      <vt:lpstr>What are we building the journeys for?</vt:lpstr>
      <vt:lpstr>PowerPoint Presentation</vt:lpstr>
      <vt:lpstr>Decision</vt:lpstr>
      <vt:lpstr>Decision</vt:lpstr>
      <vt:lpstr>Decision</vt:lpstr>
      <vt:lpstr>PowerPoint Presentation</vt:lpstr>
      <vt:lpstr>PowerPoint Presentation</vt:lpstr>
      <vt:lpstr>PowerPoint Presentation</vt:lpstr>
      <vt:lpstr>The Tool – Live Demo</vt:lpstr>
      <vt:lpstr>Custellence</vt:lpstr>
      <vt:lpstr>The tool is arranged in ‘lanes’, with boxes</vt:lpstr>
      <vt:lpstr>‘Sub-lanes’ can be hidden within a lane</vt:lpstr>
      <vt:lpstr>The Journey Map Template</vt:lpstr>
      <vt:lpstr>We have defined different box types</vt:lpstr>
      <vt:lpstr>The different scenarios will be colour coded by their lanes</vt:lpstr>
      <vt:lpstr>The Adoption stage is highlighted in the top row</vt:lpstr>
      <vt:lpstr>Additional adoption stage detail is hidden in the sub-lanes</vt:lpstr>
      <vt:lpstr>Details about each touchpoint is also hidden in sub-lanes</vt:lpstr>
      <vt:lpstr>PowerPoint Presentation</vt:lpstr>
      <vt:lpstr>PowerPoint Presentation</vt:lpstr>
      <vt:lpstr>In two groups, we will pursue the work on the current Customer Journeys using Custellence® </vt:lpstr>
      <vt:lpstr>PowerPoint Presentation</vt:lpstr>
      <vt:lpstr>PowerPoint Presentation</vt:lpstr>
      <vt:lpstr>Following Today’s S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is work would normally require 3 weeks, we offer to streamline to 3 workshops across 2 month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</cp:revision>
  <dcterms:created xsi:type="dcterms:W3CDTF">2021-05-04T11:56:14Z</dcterms:created>
  <dcterms:modified xsi:type="dcterms:W3CDTF">2021-05-05T12:5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